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7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8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9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0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11.xml" ContentType="application/vnd.openxmlformats-officedocument.theme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2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3.xml" ContentType="application/vnd.openxmlformats-officedocument.theme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4.xml" ContentType="application/vnd.openxmlformats-officedocument.theme+xml"/>
  <Override PartName="/ppt/tags/tag19.xml" ContentType="application/vnd.openxmlformats-officedocument.presentationml.tags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5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16.xml" ContentType="application/vnd.openxmlformats-officedocument.theme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17.xml" ContentType="application/vnd.openxmlformats-officedocument.theme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18.xml" ContentType="application/vnd.openxmlformats-officedocument.theme+xml"/>
  <Override PartName="/ppt/tags/tag20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theme/theme19.xml" ContentType="application/vnd.openxmlformats-officedocument.theme+xml"/>
  <Override PartName="/ppt/tags/tag21.xml" ContentType="application/vnd.openxmlformats-officedocument.presentationml.tags+xml"/>
  <Override PartName="/ppt/theme/theme20.xml" ContentType="application/vnd.openxmlformats-officedocument.theme+xml"/>
  <Override PartName="/ppt/theme/theme2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22" r:id="rId4"/>
    <p:sldMasterId id="2147484230" r:id="rId5"/>
    <p:sldMasterId id="2147484232" r:id="rId6"/>
    <p:sldMasterId id="2147484240" r:id="rId7"/>
    <p:sldMasterId id="2147484255" r:id="rId8"/>
    <p:sldMasterId id="2147484267" r:id="rId9"/>
    <p:sldMasterId id="2147484275" r:id="rId10"/>
    <p:sldMasterId id="2147484300" r:id="rId11"/>
    <p:sldMasterId id="2147484325" r:id="rId12"/>
    <p:sldMasterId id="2147484351" r:id="rId13"/>
    <p:sldMasterId id="2147484369" r:id="rId14"/>
    <p:sldMasterId id="2147484387" r:id="rId15"/>
    <p:sldMasterId id="2147484399" r:id="rId16"/>
    <p:sldMasterId id="2147484411" r:id="rId17"/>
    <p:sldMasterId id="2147484426" r:id="rId18"/>
    <p:sldMasterId id="2147484438" r:id="rId19"/>
    <p:sldMasterId id="2147484450" r:id="rId20"/>
    <p:sldMasterId id="2147484500" r:id="rId21"/>
    <p:sldMasterId id="2147484513" r:id="rId22"/>
  </p:sldMasterIdLst>
  <p:notesMasterIdLst>
    <p:notesMasterId r:id="rId28"/>
  </p:notesMasterIdLst>
  <p:handoutMasterIdLst>
    <p:handoutMasterId r:id="rId29"/>
  </p:handoutMasterIdLst>
  <p:sldIdLst>
    <p:sldId id="1820" r:id="rId23"/>
    <p:sldId id="1850" r:id="rId24"/>
    <p:sldId id="1851" r:id="rId25"/>
    <p:sldId id="1857" r:id="rId26"/>
    <p:sldId id="1858" r:id="rId27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4" userDrawn="1">
          <p15:clr>
            <a:srgbClr val="A4A3A4"/>
          </p15:clr>
        </p15:guide>
        <p15:guide id="2" pos="5472" userDrawn="1">
          <p15:clr>
            <a:srgbClr val="A4A3A4"/>
          </p15:clr>
        </p15:guide>
        <p15:guide id="3" pos="278" userDrawn="1">
          <p15:clr>
            <a:srgbClr val="A4A3A4"/>
          </p15:clr>
        </p15:guide>
        <p15:guide id="4" pos="2736" userDrawn="1">
          <p15:clr>
            <a:srgbClr val="A4A3A4"/>
          </p15:clr>
        </p15:guide>
        <p15:guide id="5" pos="2928" userDrawn="1">
          <p15:clr>
            <a:srgbClr val="A4A3A4"/>
          </p15:clr>
        </p15:guide>
        <p15:guide id="6" orient="horz" pos="9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han, Sameer M" initials="SK" lastIdx="6" clrIdx="0"/>
  <p:cmAuthor id="1" name="Williamowsky, Jeff" initials="JW" lastIdx="28" clrIdx="1"/>
  <p:cmAuthor id="2" name="Mason, Sam" initials="SM" lastIdx="3" clrIdx="2"/>
  <p:cmAuthor id="3" name="Patel, Vishal" initials="PV" lastIdx="1" clrIdx="3">
    <p:extLst>
      <p:ext uri="{19B8F6BF-5375-455C-9EA6-DF929625EA0E}">
        <p15:presenceInfo xmlns:p15="http://schemas.microsoft.com/office/powerpoint/2012/main" userId="S-1-5-21-781256317-1909467510-1415713722-39952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81BD"/>
    <a:srgbClr val="FF9900"/>
    <a:srgbClr val="0079C1"/>
    <a:srgbClr val="0066CC"/>
    <a:srgbClr val="52DA3F"/>
    <a:srgbClr val="FF99CC"/>
    <a:srgbClr val="800000"/>
    <a:srgbClr val="00A0DE"/>
    <a:srgbClr val="25623C"/>
    <a:srgbClr val="D0D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29" autoAdjust="0"/>
    <p:restoredTop sz="94249" autoAdjust="0"/>
  </p:normalViewPr>
  <p:slideViewPr>
    <p:cSldViewPr>
      <p:cViewPr varScale="1">
        <p:scale>
          <a:sx n="68" d="100"/>
          <a:sy n="68" d="100"/>
        </p:scale>
        <p:origin x="1632" y="60"/>
      </p:cViewPr>
      <p:guideLst>
        <p:guide orient="horz" pos="864"/>
        <p:guide pos="5472"/>
        <p:guide pos="278"/>
        <p:guide pos="2736"/>
        <p:guide pos="2928"/>
        <p:guide orient="horz" pos="93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howGuides="1">
      <p:cViewPr varScale="1">
        <p:scale>
          <a:sx n="70" d="100"/>
          <a:sy n="70" d="100"/>
        </p:scale>
        <p:origin x="-3174" y="-108"/>
      </p:cViewPr>
      <p:guideLst>
        <p:guide orient="horz" pos="3024"/>
        <p:guide pos="2304"/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4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3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2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1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5.xml"/><Relationship Id="rId30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B11DF64-1210-4AE4-809C-9037D997E63C}" type="doc">
      <dgm:prSet loTypeId="urn:microsoft.com/office/officeart/2011/layout/HexagonRadial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00EE005-F99E-4B67-8AB5-D87A91B83E5B}">
      <dgm:prSet phldrT="[Text]"/>
      <dgm:spPr/>
      <dgm:t>
        <a:bodyPr/>
        <a:lstStyle/>
        <a:p>
          <a:r>
            <a:rPr lang="en-US" dirty="0"/>
            <a:t>Customer</a:t>
          </a:r>
        </a:p>
      </dgm:t>
    </dgm:pt>
    <dgm:pt modelId="{CBCE6881-7DA3-4690-A3A2-CFCC00CB2880}" type="parTrans" cxnId="{E24871CC-DEF2-4CC5-9603-9263EF0A5D41}">
      <dgm:prSet/>
      <dgm:spPr/>
      <dgm:t>
        <a:bodyPr/>
        <a:lstStyle/>
        <a:p>
          <a:endParaRPr lang="en-US"/>
        </a:p>
      </dgm:t>
    </dgm:pt>
    <dgm:pt modelId="{3FA15DAF-1FD8-4FB5-92A6-B610433F026B}" type="sibTrans" cxnId="{E24871CC-DEF2-4CC5-9603-9263EF0A5D41}">
      <dgm:prSet/>
      <dgm:spPr/>
      <dgm:t>
        <a:bodyPr/>
        <a:lstStyle/>
        <a:p>
          <a:endParaRPr lang="en-US"/>
        </a:p>
      </dgm:t>
    </dgm:pt>
    <dgm:pt modelId="{5A356E8E-DE4E-4B0C-B881-F2B69FE9AC2F}">
      <dgm:prSet phldrT="[Text]"/>
      <dgm:spPr/>
      <dgm:t>
        <a:bodyPr/>
        <a:lstStyle/>
        <a:p>
          <a:r>
            <a:rPr lang="en-US" dirty="0"/>
            <a:t>6. &amp; 7. Accessible &amp; Published</a:t>
          </a:r>
        </a:p>
      </dgm:t>
    </dgm:pt>
    <dgm:pt modelId="{BA53CFED-75E7-4DF9-9A87-536BBBCF7CAF}" type="parTrans" cxnId="{587B8257-1F0B-4622-A263-EEBC778437A6}">
      <dgm:prSet/>
      <dgm:spPr/>
      <dgm:t>
        <a:bodyPr/>
        <a:lstStyle/>
        <a:p>
          <a:endParaRPr lang="en-US"/>
        </a:p>
      </dgm:t>
    </dgm:pt>
    <dgm:pt modelId="{3261F9C3-C23F-4A07-8D85-79678D10C6E5}" type="sibTrans" cxnId="{587B8257-1F0B-4622-A263-EEBC778437A6}">
      <dgm:prSet/>
      <dgm:spPr/>
      <dgm:t>
        <a:bodyPr/>
        <a:lstStyle/>
        <a:p>
          <a:endParaRPr lang="en-US"/>
        </a:p>
      </dgm:t>
    </dgm:pt>
    <dgm:pt modelId="{244D476D-3E74-4B1E-9B06-4A7135C561C6}">
      <dgm:prSet phldrT="[Text]"/>
      <dgm:spPr/>
      <dgm:t>
        <a:bodyPr/>
        <a:lstStyle/>
        <a:p>
          <a:r>
            <a:rPr lang="en-US" dirty="0"/>
            <a:t>1. Data is an Asset</a:t>
          </a:r>
        </a:p>
      </dgm:t>
    </dgm:pt>
    <dgm:pt modelId="{16C6D0AD-B73D-4A30-B641-4088F35D03AF}" type="parTrans" cxnId="{F244CE0E-10A6-4865-8949-226C2F36B2F2}">
      <dgm:prSet/>
      <dgm:spPr/>
      <dgm:t>
        <a:bodyPr/>
        <a:lstStyle/>
        <a:p>
          <a:endParaRPr lang="en-US"/>
        </a:p>
      </dgm:t>
    </dgm:pt>
    <dgm:pt modelId="{196F65D7-6B5B-4FD0-877D-82C2A80D384A}" type="sibTrans" cxnId="{F244CE0E-10A6-4865-8949-226C2F36B2F2}">
      <dgm:prSet/>
      <dgm:spPr/>
      <dgm:t>
        <a:bodyPr/>
        <a:lstStyle/>
        <a:p>
          <a:endParaRPr lang="en-US"/>
        </a:p>
      </dgm:t>
    </dgm:pt>
    <dgm:pt modelId="{F8378BAB-2C4E-4EB9-9B72-649A54392CBD}">
      <dgm:prSet phldrT="[Text]"/>
      <dgm:spPr/>
      <dgm:t>
        <a:bodyPr/>
        <a:lstStyle/>
        <a:p>
          <a:r>
            <a:rPr lang="en-US" dirty="0"/>
            <a:t>2. Managed &amp; Secured</a:t>
          </a:r>
        </a:p>
      </dgm:t>
    </dgm:pt>
    <dgm:pt modelId="{DD47F413-80B0-4978-935F-594F950872D1}" type="parTrans" cxnId="{A2071633-A4D5-4FDC-A045-2E7D2A7E73E6}">
      <dgm:prSet/>
      <dgm:spPr/>
      <dgm:t>
        <a:bodyPr/>
        <a:lstStyle/>
        <a:p>
          <a:endParaRPr lang="en-US"/>
        </a:p>
      </dgm:t>
    </dgm:pt>
    <dgm:pt modelId="{89EAC284-5270-4F54-A03E-53BA402670EE}" type="sibTrans" cxnId="{A2071633-A4D5-4FDC-A045-2E7D2A7E73E6}">
      <dgm:prSet/>
      <dgm:spPr/>
      <dgm:t>
        <a:bodyPr/>
        <a:lstStyle/>
        <a:p>
          <a:endParaRPr lang="en-US"/>
        </a:p>
      </dgm:t>
    </dgm:pt>
    <dgm:pt modelId="{A0D7BBBF-9BBF-4000-A8DA-8060D1A1D15E}">
      <dgm:prSet phldrT="[Text]"/>
      <dgm:spPr/>
      <dgm:t>
        <a:bodyPr/>
        <a:lstStyle/>
        <a:p>
          <a:r>
            <a:rPr lang="en-US" dirty="0"/>
            <a:t>3. Fit for Purpose</a:t>
          </a:r>
        </a:p>
      </dgm:t>
    </dgm:pt>
    <dgm:pt modelId="{601A2D8C-A694-4042-A708-B2B01FCD1A75}" type="parTrans" cxnId="{42293AC3-2E59-4525-B05B-8A0E0DCC755A}">
      <dgm:prSet/>
      <dgm:spPr/>
      <dgm:t>
        <a:bodyPr/>
        <a:lstStyle/>
        <a:p>
          <a:endParaRPr lang="en-US"/>
        </a:p>
      </dgm:t>
    </dgm:pt>
    <dgm:pt modelId="{2B501B2E-AF89-493D-9498-F9F36DFE3589}" type="sibTrans" cxnId="{42293AC3-2E59-4525-B05B-8A0E0DCC755A}">
      <dgm:prSet/>
      <dgm:spPr/>
      <dgm:t>
        <a:bodyPr/>
        <a:lstStyle/>
        <a:p>
          <a:endParaRPr lang="en-US"/>
        </a:p>
      </dgm:t>
    </dgm:pt>
    <dgm:pt modelId="{230BA676-D35D-45F8-944C-CF88FBE6D035}">
      <dgm:prSet phldrT="[Text]"/>
      <dgm:spPr/>
      <dgm:t>
        <a:bodyPr/>
        <a:lstStyle/>
        <a:p>
          <a:r>
            <a:rPr lang="en-US" dirty="0"/>
            <a:t>4. Standardized</a:t>
          </a:r>
        </a:p>
      </dgm:t>
    </dgm:pt>
    <dgm:pt modelId="{8B8BF9ED-E84A-47EC-9864-041B3F4E4C01}" type="parTrans" cxnId="{41BD0CB2-7E12-4CD2-B0B4-5BE749D32E54}">
      <dgm:prSet/>
      <dgm:spPr/>
      <dgm:t>
        <a:bodyPr/>
        <a:lstStyle/>
        <a:p>
          <a:endParaRPr lang="en-US"/>
        </a:p>
      </dgm:t>
    </dgm:pt>
    <dgm:pt modelId="{81F3CF30-B10F-448C-AC02-DB216D81A394}" type="sibTrans" cxnId="{41BD0CB2-7E12-4CD2-B0B4-5BE749D32E54}">
      <dgm:prSet/>
      <dgm:spPr/>
      <dgm:t>
        <a:bodyPr/>
        <a:lstStyle/>
        <a:p>
          <a:endParaRPr lang="en-US"/>
        </a:p>
      </dgm:t>
    </dgm:pt>
    <dgm:pt modelId="{EBB9C9C3-0ED8-4973-9ED8-3AA3E82BE093}">
      <dgm:prSet phldrT="[Text]"/>
      <dgm:spPr/>
      <dgm:t>
        <a:bodyPr/>
        <a:lstStyle/>
        <a:p>
          <a:r>
            <a:rPr lang="en-US" dirty="0"/>
            <a:t>5. Single Authoritative Source</a:t>
          </a:r>
        </a:p>
      </dgm:t>
    </dgm:pt>
    <dgm:pt modelId="{826ED115-E67E-4057-AE7B-92D293D155A0}" type="parTrans" cxnId="{F558646C-8B70-4866-8AB1-41B9D16B03FD}">
      <dgm:prSet/>
      <dgm:spPr/>
      <dgm:t>
        <a:bodyPr/>
        <a:lstStyle/>
        <a:p>
          <a:endParaRPr lang="en-US"/>
        </a:p>
      </dgm:t>
    </dgm:pt>
    <dgm:pt modelId="{0A7CB934-4F64-4A05-A69C-F9D5ED0EA21F}" type="sibTrans" cxnId="{F558646C-8B70-4866-8AB1-41B9D16B03FD}">
      <dgm:prSet/>
      <dgm:spPr/>
      <dgm:t>
        <a:bodyPr/>
        <a:lstStyle/>
        <a:p>
          <a:endParaRPr lang="en-US"/>
        </a:p>
      </dgm:t>
    </dgm:pt>
    <dgm:pt modelId="{92988BB8-C928-4FA7-A1B6-C7125303E539}" type="pres">
      <dgm:prSet presAssocID="{BB11DF64-1210-4AE4-809C-9037D997E63C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3F8BFCAB-D293-41F7-A371-1287245649A4}" type="pres">
      <dgm:prSet presAssocID="{E00EE005-F99E-4B67-8AB5-D87A91B83E5B}" presName="Parent" presStyleLbl="node0" presStyleIdx="0" presStyleCnt="1">
        <dgm:presLayoutVars>
          <dgm:chMax val="6"/>
          <dgm:chPref val="6"/>
        </dgm:presLayoutVars>
      </dgm:prSet>
      <dgm:spPr/>
    </dgm:pt>
    <dgm:pt modelId="{2792AE7D-312A-4741-9CB6-AA54F4EC3871}" type="pres">
      <dgm:prSet presAssocID="{244D476D-3E74-4B1E-9B06-4A7135C561C6}" presName="Accent1" presStyleCnt="0"/>
      <dgm:spPr/>
    </dgm:pt>
    <dgm:pt modelId="{3B017016-5B1B-4C59-8BD6-BCB0B0954327}" type="pres">
      <dgm:prSet presAssocID="{244D476D-3E74-4B1E-9B06-4A7135C561C6}" presName="Accent" presStyleLbl="bgShp" presStyleIdx="0" presStyleCnt="6"/>
      <dgm:spPr/>
    </dgm:pt>
    <dgm:pt modelId="{5AE2AF8C-6464-4880-A401-E2E4DEFCAB49}" type="pres">
      <dgm:prSet presAssocID="{244D476D-3E74-4B1E-9B06-4A7135C561C6}" presName="Child1" presStyleLbl="node1" presStyleIdx="0" presStyleCnt="6">
        <dgm:presLayoutVars>
          <dgm:chMax val="0"/>
          <dgm:chPref val="0"/>
          <dgm:bulletEnabled val="1"/>
        </dgm:presLayoutVars>
      </dgm:prSet>
      <dgm:spPr/>
    </dgm:pt>
    <dgm:pt modelId="{1ADFBB39-32D2-45E4-BE78-02B7B1E24317}" type="pres">
      <dgm:prSet presAssocID="{F8378BAB-2C4E-4EB9-9B72-649A54392CBD}" presName="Accent2" presStyleCnt="0"/>
      <dgm:spPr/>
    </dgm:pt>
    <dgm:pt modelId="{C873966E-2C7C-4462-8B4F-16EC2B127122}" type="pres">
      <dgm:prSet presAssocID="{F8378BAB-2C4E-4EB9-9B72-649A54392CBD}" presName="Accent" presStyleLbl="bgShp" presStyleIdx="1" presStyleCnt="6"/>
      <dgm:spPr/>
    </dgm:pt>
    <dgm:pt modelId="{E1075BF3-3799-4229-92EF-163B4B51F5FC}" type="pres">
      <dgm:prSet presAssocID="{F8378BAB-2C4E-4EB9-9B72-649A54392CBD}" presName="Child2" presStyleLbl="node1" presStyleIdx="1" presStyleCnt="6">
        <dgm:presLayoutVars>
          <dgm:chMax val="0"/>
          <dgm:chPref val="0"/>
          <dgm:bulletEnabled val="1"/>
        </dgm:presLayoutVars>
      </dgm:prSet>
      <dgm:spPr/>
    </dgm:pt>
    <dgm:pt modelId="{A65ED1C6-94CC-41D9-AD94-77D0C41CF359}" type="pres">
      <dgm:prSet presAssocID="{A0D7BBBF-9BBF-4000-A8DA-8060D1A1D15E}" presName="Accent3" presStyleCnt="0"/>
      <dgm:spPr/>
    </dgm:pt>
    <dgm:pt modelId="{75CB9F20-506E-4DD2-8162-FD7D5759D331}" type="pres">
      <dgm:prSet presAssocID="{A0D7BBBF-9BBF-4000-A8DA-8060D1A1D15E}" presName="Accent" presStyleLbl="bgShp" presStyleIdx="2" presStyleCnt="6"/>
      <dgm:spPr/>
    </dgm:pt>
    <dgm:pt modelId="{709F1200-E685-4E34-9C69-95620430D9A8}" type="pres">
      <dgm:prSet presAssocID="{A0D7BBBF-9BBF-4000-A8DA-8060D1A1D15E}" presName="Child3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05294CA7-2764-44A2-ABBF-F7490A1C036D}" type="pres">
      <dgm:prSet presAssocID="{230BA676-D35D-45F8-944C-CF88FBE6D035}" presName="Accent4" presStyleCnt="0"/>
      <dgm:spPr/>
    </dgm:pt>
    <dgm:pt modelId="{4901DAB7-63D1-4E21-8427-A0EEBFD0B51E}" type="pres">
      <dgm:prSet presAssocID="{230BA676-D35D-45F8-944C-CF88FBE6D035}" presName="Accent" presStyleLbl="bgShp" presStyleIdx="3" presStyleCnt="6"/>
      <dgm:spPr/>
    </dgm:pt>
    <dgm:pt modelId="{1280B74E-F467-41EA-90C2-0113423E9844}" type="pres">
      <dgm:prSet presAssocID="{230BA676-D35D-45F8-944C-CF88FBE6D035}" presName="Child4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F3B672A7-B102-4625-BE7F-0A291CB0D3E7}" type="pres">
      <dgm:prSet presAssocID="{EBB9C9C3-0ED8-4973-9ED8-3AA3E82BE093}" presName="Accent5" presStyleCnt="0"/>
      <dgm:spPr/>
    </dgm:pt>
    <dgm:pt modelId="{B3D95C11-6AF7-458F-B14F-59FC73365D77}" type="pres">
      <dgm:prSet presAssocID="{EBB9C9C3-0ED8-4973-9ED8-3AA3E82BE093}" presName="Accent" presStyleLbl="bgShp" presStyleIdx="4" presStyleCnt="6"/>
      <dgm:spPr/>
    </dgm:pt>
    <dgm:pt modelId="{6EA6E1F8-19AA-4EEC-8D62-C119EAEEC181}" type="pres">
      <dgm:prSet presAssocID="{EBB9C9C3-0ED8-4973-9ED8-3AA3E82BE093}" presName="Child5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AAF9297E-B648-4D23-BCF2-386B9F463CA7}" type="pres">
      <dgm:prSet presAssocID="{5A356E8E-DE4E-4B0C-B881-F2B69FE9AC2F}" presName="Accent6" presStyleCnt="0"/>
      <dgm:spPr/>
    </dgm:pt>
    <dgm:pt modelId="{3EA05BF7-13CE-495C-A9E3-F8028E8A47C2}" type="pres">
      <dgm:prSet presAssocID="{5A356E8E-DE4E-4B0C-B881-F2B69FE9AC2F}" presName="Accent" presStyleLbl="bgShp" presStyleIdx="5" presStyleCnt="6"/>
      <dgm:spPr/>
    </dgm:pt>
    <dgm:pt modelId="{93652FA3-6DA2-44E2-A80E-298B6E6F09E5}" type="pres">
      <dgm:prSet presAssocID="{5A356E8E-DE4E-4B0C-B881-F2B69FE9AC2F}" presName="Child6" presStyleLbl="node1" presStyleIdx="5" presStyleCnt="6">
        <dgm:presLayoutVars>
          <dgm:chMax val="0"/>
          <dgm:chPref val="0"/>
          <dgm:bulletEnabled val="1"/>
        </dgm:presLayoutVars>
      </dgm:prSet>
      <dgm:spPr/>
    </dgm:pt>
  </dgm:ptLst>
  <dgm:cxnLst>
    <dgm:cxn modelId="{F244CE0E-10A6-4865-8949-226C2F36B2F2}" srcId="{E00EE005-F99E-4B67-8AB5-D87A91B83E5B}" destId="{244D476D-3E74-4B1E-9B06-4A7135C561C6}" srcOrd="0" destOrd="0" parTransId="{16C6D0AD-B73D-4A30-B641-4088F35D03AF}" sibTransId="{196F65D7-6B5B-4FD0-877D-82C2A80D384A}"/>
    <dgm:cxn modelId="{7ECF3713-3A81-4971-B886-50F2E25A6AAC}" type="presOf" srcId="{F8378BAB-2C4E-4EB9-9B72-649A54392CBD}" destId="{E1075BF3-3799-4229-92EF-163B4B51F5FC}" srcOrd="0" destOrd="0" presId="urn:microsoft.com/office/officeart/2011/layout/HexagonRadial"/>
    <dgm:cxn modelId="{0551FB20-697C-412D-B955-E8F847C55640}" type="presOf" srcId="{230BA676-D35D-45F8-944C-CF88FBE6D035}" destId="{1280B74E-F467-41EA-90C2-0113423E9844}" srcOrd="0" destOrd="0" presId="urn:microsoft.com/office/officeart/2011/layout/HexagonRadial"/>
    <dgm:cxn modelId="{7DC62C24-7352-408F-A690-BBE89B6500EE}" type="presOf" srcId="{A0D7BBBF-9BBF-4000-A8DA-8060D1A1D15E}" destId="{709F1200-E685-4E34-9C69-95620430D9A8}" srcOrd="0" destOrd="0" presId="urn:microsoft.com/office/officeart/2011/layout/HexagonRadial"/>
    <dgm:cxn modelId="{5F8CCF29-EA24-4130-8342-5448E6ED73A8}" type="presOf" srcId="{5A356E8E-DE4E-4B0C-B881-F2B69FE9AC2F}" destId="{93652FA3-6DA2-44E2-A80E-298B6E6F09E5}" srcOrd="0" destOrd="0" presId="urn:microsoft.com/office/officeart/2011/layout/HexagonRadial"/>
    <dgm:cxn modelId="{7B86302C-81AE-47CD-B0EC-DDB995BD9F3C}" type="presOf" srcId="{244D476D-3E74-4B1E-9B06-4A7135C561C6}" destId="{5AE2AF8C-6464-4880-A401-E2E4DEFCAB49}" srcOrd="0" destOrd="0" presId="urn:microsoft.com/office/officeart/2011/layout/HexagonRadial"/>
    <dgm:cxn modelId="{A2071633-A4D5-4FDC-A045-2E7D2A7E73E6}" srcId="{E00EE005-F99E-4B67-8AB5-D87A91B83E5B}" destId="{F8378BAB-2C4E-4EB9-9B72-649A54392CBD}" srcOrd="1" destOrd="0" parTransId="{DD47F413-80B0-4978-935F-594F950872D1}" sibTransId="{89EAC284-5270-4F54-A03E-53BA402670EE}"/>
    <dgm:cxn modelId="{D0100965-E993-4C2B-A00B-D3BF82A96C31}" type="presOf" srcId="{EBB9C9C3-0ED8-4973-9ED8-3AA3E82BE093}" destId="{6EA6E1F8-19AA-4EEC-8D62-C119EAEEC181}" srcOrd="0" destOrd="0" presId="urn:microsoft.com/office/officeart/2011/layout/HexagonRadial"/>
    <dgm:cxn modelId="{F558646C-8B70-4866-8AB1-41B9D16B03FD}" srcId="{E00EE005-F99E-4B67-8AB5-D87A91B83E5B}" destId="{EBB9C9C3-0ED8-4973-9ED8-3AA3E82BE093}" srcOrd="4" destOrd="0" parTransId="{826ED115-E67E-4057-AE7B-92D293D155A0}" sibTransId="{0A7CB934-4F64-4A05-A69C-F9D5ED0EA21F}"/>
    <dgm:cxn modelId="{18F9C051-35D5-492D-BABD-F247EBBE4DF4}" type="presOf" srcId="{E00EE005-F99E-4B67-8AB5-D87A91B83E5B}" destId="{3F8BFCAB-D293-41F7-A371-1287245649A4}" srcOrd="0" destOrd="0" presId="urn:microsoft.com/office/officeart/2011/layout/HexagonRadial"/>
    <dgm:cxn modelId="{587B8257-1F0B-4622-A263-EEBC778437A6}" srcId="{E00EE005-F99E-4B67-8AB5-D87A91B83E5B}" destId="{5A356E8E-DE4E-4B0C-B881-F2B69FE9AC2F}" srcOrd="5" destOrd="0" parTransId="{BA53CFED-75E7-4DF9-9A87-536BBBCF7CAF}" sibTransId="{3261F9C3-C23F-4A07-8D85-79678D10C6E5}"/>
    <dgm:cxn modelId="{E815FF86-AC3D-4933-9F71-414F3C2F296A}" type="presOf" srcId="{BB11DF64-1210-4AE4-809C-9037D997E63C}" destId="{92988BB8-C928-4FA7-A1B6-C7125303E539}" srcOrd="0" destOrd="0" presId="urn:microsoft.com/office/officeart/2011/layout/HexagonRadial"/>
    <dgm:cxn modelId="{41BD0CB2-7E12-4CD2-B0B4-5BE749D32E54}" srcId="{E00EE005-F99E-4B67-8AB5-D87A91B83E5B}" destId="{230BA676-D35D-45F8-944C-CF88FBE6D035}" srcOrd="3" destOrd="0" parTransId="{8B8BF9ED-E84A-47EC-9864-041B3F4E4C01}" sibTransId="{81F3CF30-B10F-448C-AC02-DB216D81A394}"/>
    <dgm:cxn modelId="{42293AC3-2E59-4525-B05B-8A0E0DCC755A}" srcId="{E00EE005-F99E-4B67-8AB5-D87A91B83E5B}" destId="{A0D7BBBF-9BBF-4000-A8DA-8060D1A1D15E}" srcOrd="2" destOrd="0" parTransId="{601A2D8C-A694-4042-A708-B2B01FCD1A75}" sibTransId="{2B501B2E-AF89-493D-9498-F9F36DFE3589}"/>
    <dgm:cxn modelId="{E24871CC-DEF2-4CC5-9603-9263EF0A5D41}" srcId="{BB11DF64-1210-4AE4-809C-9037D997E63C}" destId="{E00EE005-F99E-4B67-8AB5-D87A91B83E5B}" srcOrd="0" destOrd="0" parTransId="{CBCE6881-7DA3-4690-A3A2-CFCC00CB2880}" sibTransId="{3FA15DAF-1FD8-4FB5-92A6-B610433F026B}"/>
    <dgm:cxn modelId="{20B3B40B-886C-4D72-8AFE-46A9773D6640}" type="presParOf" srcId="{92988BB8-C928-4FA7-A1B6-C7125303E539}" destId="{3F8BFCAB-D293-41F7-A371-1287245649A4}" srcOrd="0" destOrd="0" presId="urn:microsoft.com/office/officeart/2011/layout/HexagonRadial"/>
    <dgm:cxn modelId="{DE817D6C-745A-4255-BECB-869D470E129C}" type="presParOf" srcId="{92988BB8-C928-4FA7-A1B6-C7125303E539}" destId="{2792AE7D-312A-4741-9CB6-AA54F4EC3871}" srcOrd="1" destOrd="0" presId="urn:microsoft.com/office/officeart/2011/layout/HexagonRadial"/>
    <dgm:cxn modelId="{46808C7B-7C4F-46A4-BFA9-433552AD91FF}" type="presParOf" srcId="{2792AE7D-312A-4741-9CB6-AA54F4EC3871}" destId="{3B017016-5B1B-4C59-8BD6-BCB0B0954327}" srcOrd="0" destOrd="0" presId="urn:microsoft.com/office/officeart/2011/layout/HexagonRadial"/>
    <dgm:cxn modelId="{F6EB81BE-0392-43EC-B181-52DE44FC3D12}" type="presParOf" srcId="{92988BB8-C928-4FA7-A1B6-C7125303E539}" destId="{5AE2AF8C-6464-4880-A401-E2E4DEFCAB49}" srcOrd="2" destOrd="0" presId="urn:microsoft.com/office/officeart/2011/layout/HexagonRadial"/>
    <dgm:cxn modelId="{23850078-566E-4B95-B3FE-B23D29772863}" type="presParOf" srcId="{92988BB8-C928-4FA7-A1B6-C7125303E539}" destId="{1ADFBB39-32D2-45E4-BE78-02B7B1E24317}" srcOrd="3" destOrd="0" presId="urn:microsoft.com/office/officeart/2011/layout/HexagonRadial"/>
    <dgm:cxn modelId="{5986AD16-257B-4732-8699-B8F128EEA80C}" type="presParOf" srcId="{1ADFBB39-32D2-45E4-BE78-02B7B1E24317}" destId="{C873966E-2C7C-4462-8B4F-16EC2B127122}" srcOrd="0" destOrd="0" presId="urn:microsoft.com/office/officeart/2011/layout/HexagonRadial"/>
    <dgm:cxn modelId="{ABC15F6B-C00D-44AF-A70A-39407257A37A}" type="presParOf" srcId="{92988BB8-C928-4FA7-A1B6-C7125303E539}" destId="{E1075BF3-3799-4229-92EF-163B4B51F5FC}" srcOrd="4" destOrd="0" presId="urn:microsoft.com/office/officeart/2011/layout/HexagonRadial"/>
    <dgm:cxn modelId="{0A43C93D-9C51-4C0E-9244-031D8FB23664}" type="presParOf" srcId="{92988BB8-C928-4FA7-A1B6-C7125303E539}" destId="{A65ED1C6-94CC-41D9-AD94-77D0C41CF359}" srcOrd="5" destOrd="0" presId="urn:microsoft.com/office/officeart/2011/layout/HexagonRadial"/>
    <dgm:cxn modelId="{451D2B84-803F-4219-807B-EEF2F8B5EF74}" type="presParOf" srcId="{A65ED1C6-94CC-41D9-AD94-77D0C41CF359}" destId="{75CB9F20-506E-4DD2-8162-FD7D5759D331}" srcOrd="0" destOrd="0" presId="urn:microsoft.com/office/officeart/2011/layout/HexagonRadial"/>
    <dgm:cxn modelId="{6EC47DD9-EB1D-4CD5-AED1-BCB541744679}" type="presParOf" srcId="{92988BB8-C928-4FA7-A1B6-C7125303E539}" destId="{709F1200-E685-4E34-9C69-95620430D9A8}" srcOrd="6" destOrd="0" presId="urn:microsoft.com/office/officeart/2011/layout/HexagonRadial"/>
    <dgm:cxn modelId="{F55AC85E-8199-4C09-9086-E4477D9AE60B}" type="presParOf" srcId="{92988BB8-C928-4FA7-A1B6-C7125303E539}" destId="{05294CA7-2764-44A2-ABBF-F7490A1C036D}" srcOrd="7" destOrd="0" presId="urn:microsoft.com/office/officeart/2011/layout/HexagonRadial"/>
    <dgm:cxn modelId="{7DB1D874-83A0-4778-83C6-436BA06BCF5F}" type="presParOf" srcId="{05294CA7-2764-44A2-ABBF-F7490A1C036D}" destId="{4901DAB7-63D1-4E21-8427-A0EEBFD0B51E}" srcOrd="0" destOrd="0" presId="urn:microsoft.com/office/officeart/2011/layout/HexagonRadial"/>
    <dgm:cxn modelId="{018CB645-3241-4FEB-B9EF-B7540DCC7562}" type="presParOf" srcId="{92988BB8-C928-4FA7-A1B6-C7125303E539}" destId="{1280B74E-F467-41EA-90C2-0113423E9844}" srcOrd="8" destOrd="0" presId="urn:microsoft.com/office/officeart/2011/layout/HexagonRadial"/>
    <dgm:cxn modelId="{4E6D20CC-3838-40BB-918B-0CF170750FE2}" type="presParOf" srcId="{92988BB8-C928-4FA7-A1B6-C7125303E539}" destId="{F3B672A7-B102-4625-BE7F-0A291CB0D3E7}" srcOrd="9" destOrd="0" presId="urn:microsoft.com/office/officeart/2011/layout/HexagonRadial"/>
    <dgm:cxn modelId="{5F6E9D40-CCF7-4416-B78E-79920D93521F}" type="presParOf" srcId="{F3B672A7-B102-4625-BE7F-0A291CB0D3E7}" destId="{B3D95C11-6AF7-458F-B14F-59FC73365D77}" srcOrd="0" destOrd="0" presId="urn:microsoft.com/office/officeart/2011/layout/HexagonRadial"/>
    <dgm:cxn modelId="{1D280588-5F72-4875-9CC8-4AE2EC5C048F}" type="presParOf" srcId="{92988BB8-C928-4FA7-A1B6-C7125303E539}" destId="{6EA6E1F8-19AA-4EEC-8D62-C119EAEEC181}" srcOrd="10" destOrd="0" presId="urn:microsoft.com/office/officeart/2011/layout/HexagonRadial"/>
    <dgm:cxn modelId="{E3A0F456-0356-48F0-BE6C-A65C5E5AA524}" type="presParOf" srcId="{92988BB8-C928-4FA7-A1B6-C7125303E539}" destId="{AAF9297E-B648-4D23-BCF2-386B9F463CA7}" srcOrd="11" destOrd="0" presId="urn:microsoft.com/office/officeart/2011/layout/HexagonRadial"/>
    <dgm:cxn modelId="{30B62BA5-4EFA-41F9-87EE-1D8CE5E1AD4E}" type="presParOf" srcId="{AAF9297E-B648-4D23-BCF2-386B9F463CA7}" destId="{3EA05BF7-13CE-495C-A9E3-F8028E8A47C2}" srcOrd="0" destOrd="0" presId="urn:microsoft.com/office/officeart/2011/layout/HexagonRadial"/>
    <dgm:cxn modelId="{4B640845-7711-4F6E-88F2-E77417AAEABE}" type="presParOf" srcId="{92988BB8-C928-4FA7-A1B6-C7125303E539}" destId="{93652FA3-6DA2-44E2-A80E-298B6E6F09E5}" srcOrd="12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8BFCAB-D293-41F7-A371-1287245649A4}">
      <dsp:nvSpPr>
        <dsp:cNvPr id="0" name=""/>
        <dsp:cNvSpPr/>
      </dsp:nvSpPr>
      <dsp:spPr>
        <a:xfrm>
          <a:off x="825245" y="1214039"/>
          <a:ext cx="1244818" cy="1076818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Customer</a:t>
          </a:r>
        </a:p>
      </dsp:txBody>
      <dsp:txXfrm>
        <a:off x="1031529" y="1392483"/>
        <a:ext cx="832250" cy="719930"/>
      </dsp:txXfrm>
    </dsp:sp>
    <dsp:sp modelId="{C873966E-2C7C-4462-8B4F-16EC2B127122}">
      <dsp:nvSpPr>
        <dsp:cNvPr id="0" name=""/>
        <dsp:cNvSpPr/>
      </dsp:nvSpPr>
      <dsp:spPr>
        <a:xfrm>
          <a:off x="1604741" y="698854"/>
          <a:ext cx="469666" cy="404679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AE2AF8C-6464-4880-A401-E2E4DEFCAB49}">
      <dsp:nvSpPr>
        <dsp:cNvPr id="0" name=""/>
        <dsp:cNvSpPr/>
      </dsp:nvSpPr>
      <dsp:spPr>
        <a:xfrm>
          <a:off x="939911" y="234672"/>
          <a:ext cx="1020119" cy="882523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1. Data is an Asset</a:t>
          </a:r>
        </a:p>
      </dsp:txBody>
      <dsp:txXfrm>
        <a:off x="1108967" y="380925"/>
        <a:ext cx="682007" cy="590017"/>
      </dsp:txXfrm>
    </dsp:sp>
    <dsp:sp modelId="{75CB9F20-506E-4DD2-8162-FD7D5759D331}">
      <dsp:nvSpPr>
        <dsp:cNvPr id="0" name=""/>
        <dsp:cNvSpPr/>
      </dsp:nvSpPr>
      <dsp:spPr>
        <a:xfrm>
          <a:off x="2152878" y="1455390"/>
          <a:ext cx="469666" cy="404679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1075BF3-3799-4229-92EF-163B4B51F5FC}">
      <dsp:nvSpPr>
        <dsp:cNvPr id="0" name=""/>
        <dsp:cNvSpPr/>
      </dsp:nvSpPr>
      <dsp:spPr>
        <a:xfrm>
          <a:off x="1875480" y="777483"/>
          <a:ext cx="1020119" cy="882523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2. Managed &amp; Secured</a:t>
          </a:r>
        </a:p>
      </dsp:txBody>
      <dsp:txXfrm>
        <a:off x="2044536" y="923736"/>
        <a:ext cx="682007" cy="590017"/>
      </dsp:txXfrm>
    </dsp:sp>
    <dsp:sp modelId="{4901DAB7-63D1-4E21-8427-A0EEBFD0B51E}">
      <dsp:nvSpPr>
        <dsp:cNvPr id="0" name=""/>
        <dsp:cNvSpPr/>
      </dsp:nvSpPr>
      <dsp:spPr>
        <a:xfrm>
          <a:off x="1772107" y="2309376"/>
          <a:ext cx="469666" cy="404679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9F1200-E685-4E34-9C69-95620430D9A8}">
      <dsp:nvSpPr>
        <dsp:cNvPr id="0" name=""/>
        <dsp:cNvSpPr/>
      </dsp:nvSpPr>
      <dsp:spPr>
        <a:xfrm>
          <a:off x="1875480" y="1844586"/>
          <a:ext cx="1020119" cy="882523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3. Fit for Purpose</a:t>
          </a:r>
        </a:p>
      </dsp:txBody>
      <dsp:txXfrm>
        <a:off x="2044536" y="1990839"/>
        <a:ext cx="682007" cy="590017"/>
      </dsp:txXfrm>
    </dsp:sp>
    <dsp:sp modelId="{B3D95C11-6AF7-458F-B14F-59FC73365D77}">
      <dsp:nvSpPr>
        <dsp:cNvPr id="0" name=""/>
        <dsp:cNvSpPr/>
      </dsp:nvSpPr>
      <dsp:spPr>
        <a:xfrm>
          <a:off x="827562" y="2398023"/>
          <a:ext cx="469666" cy="404679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80B74E-F467-41EA-90C2-0113423E9844}">
      <dsp:nvSpPr>
        <dsp:cNvPr id="0" name=""/>
        <dsp:cNvSpPr/>
      </dsp:nvSpPr>
      <dsp:spPr>
        <a:xfrm>
          <a:off x="939911" y="2388005"/>
          <a:ext cx="1020119" cy="882523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4. Standardized</a:t>
          </a:r>
        </a:p>
      </dsp:txBody>
      <dsp:txXfrm>
        <a:off x="1108967" y="2534258"/>
        <a:ext cx="682007" cy="590017"/>
      </dsp:txXfrm>
    </dsp:sp>
    <dsp:sp modelId="{3EA05BF7-13CE-495C-A9E3-F8028E8A47C2}">
      <dsp:nvSpPr>
        <dsp:cNvPr id="0" name=""/>
        <dsp:cNvSpPr/>
      </dsp:nvSpPr>
      <dsp:spPr>
        <a:xfrm>
          <a:off x="270449" y="1641791"/>
          <a:ext cx="469666" cy="404679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A6E1F8-19AA-4EEC-8D62-C119EAEEC181}">
      <dsp:nvSpPr>
        <dsp:cNvPr id="0" name=""/>
        <dsp:cNvSpPr/>
      </dsp:nvSpPr>
      <dsp:spPr>
        <a:xfrm>
          <a:off x="0" y="1845194"/>
          <a:ext cx="1020119" cy="882523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5. Single Authoritative Source</a:t>
          </a:r>
        </a:p>
      </dsp:txBody>
      <dsp:txXfrm>
        <a:off x="169056" y="1991447"/>
        <a:ext cx="682007" cy="590017"/>
      </dsp:txXfrm>
    </dsp:sp>
    <dsp:sp modelId="{93652FA3-6DA2-44E2-A80E-298B6E6F09E5}">
      <dsp:nvSpPr>
        <dsp:cNvPr id="0" name=""/>
        <dsp:cNvSpPr/>
      </dsp:nvSpPr>
      <dsp:spPr>
        <a:xfrm>
          <a:off x="0" y="776269"/>
          <a:ext cx="1020119" cy="882523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6. &amp; 7. Accessible &amp; Published</a:t>
          </a:r>
        </a:p>
      </dsp:txBody>
      <dsp:txXfrm>
        <a:off x="169056" y="922522"/>
        <a:ext cx="682007" cy="5900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38475" cy="464980"/>
          </a:xfrm>
          <a:prstGeom prst="rect">
            <a:avLst/>
          </a:prstGeom>
        </p:spPr>
        <p:txBody>
          <a:bodyPr vert="horz" lIns="91427" tIns="45713" rIns="91427" bIns="4571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40" y="1"/>
            <a:ext cx="3038475" cy="464980"/>
          </a:xfrm>
          <a:prstGeom prst="rect">
            <a:avLst/>
          </a:prstGeom>
        </p:spPr>
        <p:txBody>
          <a:bodyPr vert="horz" lIns="91427" tIns="45713" rIns="91427" bIns="45713" rtlCol="0"/>
          <a:lstStyle>
            <a:lvl1pPr algn="r">
              <a:defRPr sz="1200"/>
            </a:lvl1pPr>
          </a:lstStyle>
          <a:p>
            <a:fld id="{F7D486C1-B88F-46C4-9E9F-79BF291C8D86}" type="datetimeFigureOut">
              <a:rPr lang="en-US" smtClean="0"/>
              <a:t>6/22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824"/>
            <a:ext cx="3038475" cy="464980"/>
          </a:xfrm>
          <a:prstGeom prst="rect">
            <a:avLst/>
          </a:prstGeom>
        </p:spPr>
        <p:txBody>
          <a:bodyPr vert="horz" lIns="91427" tIns="45713" rIns="91427" bIns="4571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40" y="8829824"/>
            <a:ext cx="3038475" cy="464980"/>
          </a:xfrm>
          <a:prstGeom prst="rect">
            <a:avLst/>
          </a:prstGeom>
        </p:spPr>
        <p:txBody>
          <a:bodyPr vert="horz" lIns="91427" tIns="45713" rIns="91427" bIns="45713" rtlCol="0" anchor="b"/>
          <a:lstStyle>
            <a:lvl1pPr algn="r">
              <a:defRPr sz="1200"/>
            </a:lvl1pPr>
          </a:lstStyle>
          <a:p>
            <a:fld id="{2243EE0A-AEE5-4DDD-B713-999014ACF1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90824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27" tIns="45713" rIns="91427" bIns="4571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27" tIns="45713" rIns="91427" bIns="45713" rtlCol="0"/>
          <a:lstStyle>
            <a:lvl1pPr algn="r">
              <a:defRPr sz="1200"/>
            </a:lvl1pPr>
          </a:lstStyle>
          <a:p>
            <a:fld id="{86757859-001C-43A2-A94E-0E04FC41E02F}" type="datetimeFigureOut">
              <a:rPr lang="en-US" smtClean="0"/>
              <a:t>6/22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7" tIns="45713" rIns="91427" bIns="4571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1427" tIns="45713" rIns="91427" bIns="4571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27" tIns="45713" rIns="91427" bIns="4571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27" tIns="45713" rIns="91427" bIns="45713" rtlCol="0" anchor="b"/>
          <a:lstStyle>
            <a:lvl1pPr algn="r">
              <a:defRPr sz="1200"/>
            </a:lvl1pPr>
          </a:lstStyle>
          <a:p>
            <a:fld id="{846C5E3C-CF97-4888-B90E-F1D775CE980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14285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17706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84702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3.png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3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9.jpe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3.pn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3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0"/>
          <p:cNvSpPr>
            <a:spLocks noChangeArrowheads="1"/>
          </p:cNvSpPr>
          <p:nvPr userDrawn="1"/>
        </p:nvSpPr>
        <p:spPr bwMode="auto">
          <a:xfrm>
            <a:off x="6934200" y="6019800"/>
            <a:ext cx="1828800" cy="809625"/>
          </a:xfrm>
          <a:prstGeom prst="rect">
            <a:avLst/>
          </a:prstGeom>
          <a:solidFill>
            <a:srgbClr val="0079C1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914400">
              <a:defRPr/>
            </a:pPr>
            <a:endParaRPr lang="en-US" altLang="en-US" sz="2800" b="1" dirty="0">
              <a:solidFill>
                <a:srgbClr val="0079C1"/>
              </a:solidFill>
              <a:cs typeface="+mn-cs"/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93729" y="1337797"/>
            <a:ext cx="8043863" cy="52322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9" y="2882900"/>
            <a:ext cx="8043863" cy="503238"/>
          </a:xfrm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 b="1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>
              <a:defRPr/>
            </a:pPr>
            <a:fld id="{156C06C7-40B3-43AE-A39E-48570C720C0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963" y="132221"/>
            <a:ext cx="1828800" cy="58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7292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ingle Large Image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6934200" y="6019800"/>
            <a:ext cx="1828800" cy="809625"/>
          </a:xfrm>
          <a:prstGeom prst="rect">
            <a:avLst/>
          </a:prstGeom>
          <a:solidFill>
            <a:srgbClr val="0079C1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en-US" altLang="en-US" sz="2800" b="1" dirty="0">
              <a:solidFill>
                <a:srgbClr val="0079C1"/>
              </a:solidFill>
            </a:endParaRPr>
          </a:p>
        </p:txBody>
      </p:sp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811963" y="131763"/>
            <a:ext cx="1828800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93729" y="1337797"/>
            <a:ext cx="8043863" cy="52322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9" y="6172200"/>
            <a:ext cx="8043863" cy="503238"/>
          </a:xfrm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93729" y="2743200"/>
            <a:ext cx="5029200" cy="274320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762000" y="2971800"/>
            <a:ext cx="2438400" cy="1681914"/>
          </a:xfrm>
          <a:solidFill>
            <a:srgbClr val="65952D"/>
          </a:solidFill>
          <a:ln>
            <a:noFill/>
          </a:ln>
        </p:spPr>
        <p:txBody>
          <a:bodyPr/>
          <a:lstStyle>
            <a:lvl1pPr marL="0" indent="0">
              <a:buNone/>
              <a:defRPr sz="18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E5AB120-62E1-4A91-ADEC-A8DF464968A1}" type="slidenum">
              <a:rPr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74040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7"/>
          <p:cNvCxnSpPr/>
          <p:nvPr userDrawn="1"/>
        </p:nvCxnSpPr>
        <p:spPr>
          <a:xfrm>
            <a:off x="576263" y="841375"/>
            <a:ext cx="8067675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79438" y="831849"/>
            <a:ext cx="8107362" cy="2600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79438" y="3573463"/>
            <a:ext cx="8107362" cy="27320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28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FB24A9C1-6403-40A0-9777-330F5EAF9DB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21123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inition of Ter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8"/>
          <p:cNvSpPr txBox="1">
            <a:spLocks noChangeArrowheads="1"/>
          </p:cNvSpPr>
          <p:nvPr/>
        </p:nvSpPr>
        <p:spPr bwMode="auto">
          <a:xfrm>
            <a:off x="581025" y="6096000"/>
            <a:ext cx="7092950" cy="246063"/>
          </a:xfrm>
          <a:prstGeom prst="rect">
            <a:avLst/>
          </a:prstGeom>
          <a:noFill/>
          <a:ln>
            <a:noFill/>
          </a:ln>
          <a:extLst/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i="1" dirty="0">
                <a:solidFill>
                  <a:srgbClr val="000000"/>
                </a:solidFill>
              </a:rPr>
              <a:t>Note:  All dollar amounts are presented in thousands except per units data or unless otherwise noted</a:t>
            </a:r>
            <a:endParaRPr lang="en-US" sz="1000" dirty="0">
              <a:solidFill>
                <a:srgbClr val="000000"/>
              </a:solidFill>
            </a:endParaRPr>
          </a:p>
        </p:txBody>
      </p:sp>
      <p:cxnSp>
        <p:nvCxnSpPr>
          <p:cNvPr id="5" name="Straight Connector 6"/>
          <p:cNvCxnSpPr/>
          <p:nvPr userDrawn="1"/>
        </p:nvCxnSpPr>
        <p:spPr>
          <a:xfrm>
            <a:off x="576263" y="841375"/>
            <a:ext cx="8067675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able Placeholder 8"/>
          <p:cNvSpPr>
            <a:spLocks noGrp="1"/>
          </p:cNvSpPr>
          <p:nvPr>
            <p:ph type="tbl" sz="quarter" idx="12"/>
          </p:nvPr>
        </p:nvSpPr>
        <p:spPr>
          <a:xfrm>
            <a:off x="581025" y="854075"/>
            <a:ext cx="8105775" cy="4988941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en-US" noProof="0" dirty="0"/>
              <a:t>Click icon to add tab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E4DC91FB-FB0F-459F-8431-8DB1B67223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5335298"/>
      </p:ext>
    </p:extLst>
  </p:cSld>
  <p:clrMapOvr>
    <a:masterClrMapping/>
  </p:clrMapOvr>
  <p:transition spd="slow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81025" y="639763"/>
            <a:ext cx="3915130" cy="5689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  <a:lvl6pPr marL="685800" indent="0">
              <a:buNone/>
              <a:defRPr/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4632326" y="634937"/>
            <a:ext cx="4054474" cy="56706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5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A32CBD6F-28BC-4F5F-AD03-7F61FB8C625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5697940"/>
      </p:ext>
    </p:extLst>
  </p:cSld>
  <p:clrMapOvr>
    <a:masterClrMapping/>
  </p:clrMapOvr>
  <p:transition spd="slow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hart, 1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632325" y="634937"/>
            <a:ext cx="4054475" cy="56706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6"/>
          </p:nvPr>
        </p:nvSpPr>
        <p:spPr>
          <a:xfrm>
            <a:off x="581025" y="633413"/>
            <a:ext cx="3917823" cy="56721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7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B80A1543-34C7-433F-A879-F9377329AE3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0094469"/>
      </p:ext>
    </p:extLst>
  </p:cSld>
  <p:clrMapOvr>
    <a:masterClrMapping/>
  </p:clrMapOvr>
  <p:transition spd="slow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Wide Chart, 1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5632450" y="634937"/>
            <a:ext cx="3054350" cy="56706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6"/>
          </p:nvPr>
        </p:nvSpPr>
        <p:spPr>
          <a:xfrm>
            <a:off x="581025" y="633413"/>
            <a:ext cx="4919669" cy="56721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7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D272A03A-406E-4D3C-B807-8E9663C0EB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32834"/>
      </p:ext>
    </p:extLst>
  </p:cSld>
  <p:clrMapOvr>
    <a:masterClrMapping/>
  </p:clrMapOvr>
  <p:transition spd="slow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hart (Left), 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81026" y="3573462"/>
            <a:ext cx="3922712" cy="27320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632325" y="634937"/>
            <a:ext cx="4054475" cy="56706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6"/>
          </p:nvPr>
        </p:nvSpPr>
        <p:spPr>
          <a:xfrm>
            <a:off x="584201" y="620650"/>
            <a:ext cx="3922712" cy="28099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7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9DD98356-CC32-4BBC-83FC-7C2BBBCB208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8698285"/>
      </p:ext>
    </p:extLst>
  </p:cSld>
  <p:clrMapOvr>
    <a:masterClrMapping/>
  </p:clrMapOvr>
  <p:transition spd="slow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, 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632325" y="3576638"/>
            <a:ext cx="4054476" cy="27289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632325" y="633413"/>
            <a:ext cx="4054476" cy="279717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/>
          </p:nvPr>
        </p:nvSpPr>
        <p:spPr>
          <a:xfrm>
            <a:off x="581025" y="633413"/>
            <a:ext cx="3922713" cy="27971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/>
          </p:nvPr>
        </p:nvSpPr>
        <p:spPr>
          <a:xfrm>
            <a:off x="589091" y="3576638"/>
            <a:ext cx="3917822" cy="27241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28"/>
          <p:cNvSpPr>
            <a:spLocks noGrp="1" noChangeArrowheads="1"/>
          </p:cNvSpPr>
          <p:nvPr>
            <p:ph type="sldNum" sz="quarter" idx="20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8EF1575D-645D-4E89-89D3-3052A35D37A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190730"/>
      </p:ext>
    </p:extLst>
  </p:cSld>
  <p:clrMapOvr>
    <a:masterClrMapping/>
  </p:clrMapOvr>
  <p:transition spd="slow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hart (Top), 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581024" y="633413"/>
            <a:ext cx="8105776" cy="27924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581025" y="3576638"/>
            <a:ext cx="3929063" cy="27289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4638675" y="3576638"/>
            <a:ext cx="4048126" cy="27289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20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74F8400F-3ECA-4A2F-B70D-88006B615D4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070905"/>
      </p:ext>
    </p:extLst>
  </p:cSld>
  <p:clrMapOvr>
    <a:masterClrMapping/>
  </p:clrMapOvr>
  <p:transition spd="slow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hart (Top), 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LOGO_NG_HWHFY_PMS300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34938" y="6505575"/>
            <a:ext cx="1016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"/>
          <p:cNvSpPr/>
          <p:nvPr userDrawn="1"/>
        </p:nvSpPr>
        <p:spPr>
          <a:xfrm>
            <a:off x="0" y="0"/>
            <a:ext cx="9144000" cy="957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DD18B5D7-ACCE-4344-8DC5-89F628DF03C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588180"/>
      </p:ext>
    </p:extLst>
  </p:cSld>
  <p:clrMapOvr>
    <a:masterClrMapping/>
  </p:clrMapOvr>
  <p:transition spd="slow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Page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4944" y="813816"/>
            <a:ext cx="7936992" cy="5394960"/>
          </a:xfrm>
        </p:spPr>
        <p:txBody>
          <a:bodyPr/>
          <a:lstStyle>
            <a:lvl5pPr>
              <a:defRPr/>
            </a:lvl5pPr>
            <a:lvl6pPr marL="914400">
              <a:defRPr/>
            </a:lvl6pPr>
            <a:lvl7pPr marL="1143000">
              <a:defRPr/>
            </a:lvl7pPr>
            <a:lvl8pPr marL="1371600">
              <a:defRPr/>
            </a:lvl8pPr>
            <a:lvl9pPr marL="1600200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85800" y="-1019556"/>
            <a:ext cx="2286000" cy="219456"/>
          </a:xfrm>
        </p:spPr>
        <p:txBody>
          <a:bodyPr lIns="18288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986B8634-3C00-4F13-8DC5-B49C9A340D1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611866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6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3"/>
          <p:cNvCxnSpPr/>
          <p:nvPr/>
        </p:nvCxnSpPr>
        <p:spPr>
          <a:xfrm>
            <a:off x="700088" y="1382713"/>
            <a:ext cx="7999412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8"/>
          <p:cNvSpPr txBox="1">
            <a:spLocks noChangeArrowheads="1"/>
          </p:cNvSpPr>
          <p:nvPr userDrawn="1"/>
        </p:nvSpPr>
        <p:spPr bwMode="auto">
          <a:xfrm>
            <a:off x="3024188" y="0"/>
            <a:ext cx="2667000" cy="2460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US" sz="1000" b="1" i="1" dirty="0">
                <a:solidFill>
                  <a:srgbClr val="808080"/>
                </a:solidFill>
              </a:rPr>
              <a:t>Confidential: Not for Distribution</a:t>
            </a:r>
          </a:p>
        </p:txBody>
      </p:sp>
      <p:pic>
        <p:nvPicPr>
          <p:cNvPr id="9" name="Picture 10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811963" y="131763"/>
            <a:ext cx="1828800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881003"/>
            <a:ext cx="809307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593725" y="1485900"/>
            <a:ext cx="80899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marL="0" algn="r" defTabSz="914400" rtl="0" eaLnBrk="1" latinLnBrk="0" hangingPunct="1">
              <a:defRPr lang="en-US" altLang="en-US" sz="12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fld id="{01935EE6-28D3-44C3-9F21-458E04446C4A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704477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-3175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11" descr="117008864rev_retouched.jpg"/>
          <p:cNvPicPr>
            <a:picLocks noChangeAspect="1"/>
          </p:cNvPicPr>
          <p:nvPr/>
        </p:nvPicPr>
        <p:blipFill>
          <a:blip r:embed="rId2">
            <a:alphaModFix amt="2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175"/>
            <a:ext cx="9144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25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/>
        </p:nvCxnSpPr>
        <p:spPr>
          <a:xfrm flipV="1">
            <a:off x="2043113" y="1300257"/>
            <a:ext cx="0" cy="4573417"/>
          </a:xfrm>
          <a:prstGeom prst="line">
            <a:avLst/>
          </a:prstGeom>
          <a:ln>
            <a:solidFill>
              <a:srgbClr val="0079C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155396" y="2092232"/>
            <a:ext cx="5434442" cy="3552825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0"/>
              </a:spcBef>
              <a:buClr>
                <a:srgbClr val="0079C1"/>
              </a:buClr>
              <a:buFont typeface="+mj-lt"/>
              <a:buAutoNum type="romanUcPeriod"/>
              <a:tabLst>
                <a:tab pos="6400800" algn="l"/>
              </a:tabLst>
              <a:defRPr sz="1600" b="0">
                <a:solidFill>
                  <a:schemeClr val="tx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0"/>
              </a:spcBef>
              <a:buClr>
                <a:srgbClr val="0079C1"/>
              </a:buClr>
              <a:buFont typeface="Arial" pitchFamily="34" charset="0"/>
              <a:buChar char="●"/>
              <a:tabLst>
                <a:tab pos="6400800" algn="l"/>
              </a:tabLst>
              <a:defRPr sz="1400" b="0" baseline="0">
                <a:solidFill>
                  <a:schemeClr val="tx1"/>
                </a:solidFill>
              </a:defRPr>
            </a:lvl2pPr>
            <a:lvl3pPr marL="822960" indent="-274320" defTabSz="914400">
              <a:lnSpc>
                <a:spcPct val="100000"/>
              </a:lnSpc>
              <a:spcBef>
                <a:spcPts val="0"/>
              </a:spcBef>
              <a:buClr>
                <a:srgbClr val="0079C1"/>
              </a:buClr>
              <a:buSzPct val="100000"/>
              <a:buFont typeface="+mj-lt"/>
              <a:buAutoNum type="alphaLcPeriod"/>
              <a:tabLst>
                <a:tab pos="6400800" algn="l"/>
              </a:tabLst>
              <a:defRPr sz="1400" b="0" baseline="0">
                <a:solidFill>
                  <a:schemeClr val="tx1"/>
                </a:solidFill>
              </a:defRPr>
            </a:lvl3pPr>
            <a:lvl4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Font typeface="+mj-lt"/>
              <a:buAutoNum type="alphaLcPeriod"/>
              <a:tabLst>
                <a:tab pos="6400800" algn="l"/>
              </a:tabLst>
              <a:defRPr sz="1600">
                <a:solidFill>
                  <a:srgbClr val="4F8ABE"/>
                </a:solidFill>
              </a:defRPr>
            </a:lvl4pPr>
            <a:lvl5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Font typeface="+mj-lt"/>
              <a:buAutoNum type="alphaLcPeriod"/>
              <a:tabLst>
                <a:tab pos="6400800" algn="l"/>
              </a:tabLst>
              <a:defRPr sz="1600">
                <a:solidFill>
                  <a:srgbClr val="4F8ABE"/>
                </a:solidFill>
              </a:defRPr>
            </a:lvl5pPr>
            <a:lvl6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Font typeface="+mj-lt"/>
              <a:buAutoNum type="alphaLcPeriod"/>
              <a:defRPr sz="1600">
                <a:solidFill>
                  <a:srgbClr val="4F779C"/>
                </a:solidFill>
              </a:defRPr>
            </a:lvl6pPr>
            <a:lvl7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Font typeface="+mj-lt"/>
              <a:buAutoNum type="alphaLcPeriod"/>
              <a:tabLst/>
              <a:defRPr sz="1600">
                <a:solidFill>
                  <a:srgbClr val="4F779C"/>
                </a:solidFill>
              </a:defRPr>
            </a:lvl7pPr>
            <a:lvl8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SzPct val="100000"/>
              <a:buFont typeface="+mj-lt"/>
              <a:buAutoNum type="alphaLcPeriod"/>
              <a:defRPr sz="1600">
                <a:solidFill>
                  <a:srgbClr val="4F779C"/>
                </a:solidFill>
              </a:defRPr>
            </a:lvl8pPr>
            <a:lvl9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SzPct val="100000"/>
              <a:buFont typeface="+mj-lt"/>
              <a:buAutoNum type="alphaLcPeriod"/>
              <a:defRPr sz="1600">
                <a:solidFill>
                  <a:srgbClr val="4F779C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155396" y="1353580"/>
            <a:ext cx="5434442" cy="524193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2400" b="1" baseline="0">
                <a:solidFill>
                  <a:srgbClr val="0079C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7" descr="LOGO_NG_HWHFY_PMS300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6858000" y="368300"/>
            <a:ext cx="1828800" cy="5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Straight Connector 12"/>
          <p:cNvCxnSpPr/>
          <p:nvPr userDrawn="1"/>
        </p:nvCxnSpPr>
        <p:spPr>
          <a:xfrm>
            <a:off x="577054" y="1078789"/>
            <a:ext cx="8067677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9312943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849313"/>
            <a:ext cx="9144000" cy="2217737"/>
          </a:xfrm>
          <a:prstGeom prst="rect">
            <a:avLst/>
          </a:prstGeom>
          <a:solidFill>
            <a:srgbClr val="0079C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Rectangle 41"/>
          <p:cNvSpPr>
            <a:spLocks noGrp="1" noChangeArrowheads="1"/>
          </p:cNvSpPr>
          <p:nvPr>
            <p:ph type="ctrTitle" sz="quarter"/>
          </p:nvPr>
        </p:nvSpPr>
        <p:spPr>
          <a:xfrm>
            <a:off x="566738" y="1510302"/>
            <a:ext cx="5883276" cy="1556723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100000"/>
              </a:lnSpc>
              <a:spcBef>
                <a:spcPts val="0"/>
              </a:spcBef>
              <a:defRPr sz="3600" b="1" cap="none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2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8D4F86-0A65-4848-91C8-135B38B744E1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534150" y="849313"/>
            <a:ext cx="2609851" cy="2293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7" descr="LOGO_NG_HWHFY_PMS300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911975" y="1707356"/>
            <a:ext cx="1828800" cy="5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22986887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81025" y="1203324"/>
            <a:ext cx="8105775" cy="509320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b="1">
                <a:solidFill>
                  <a:srgbClr val="000000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79C1"/>
              </a:buClr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79C1"/>
              </a:buClr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79C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b="1" cap="none" baseline="0">
                <a:solidFill>
                  <a:srgbClr val="0079C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8D4F86-0A65-4848-91C8-135B38B744E1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81025" y="629284"/>
            <a:ext cx="7968615" cy="41997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 baseline="0">
                <a:solidFill>
                  <a:srgbClr val="00355F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9pPr>
          </a:lstStyle>
          <a:p>
            <a:pPr lvl="0"/>
            <a:r>
              <a:rPr lang="en-US" dirty="0"/>
              <a:t>Click to edit 1 or 2 line key message (Arial – Italic – 14pt)</a:t>
            </a:r>
          </a:p>
        </p:txBody>
      </p:sp>
      <p:pic>
        <p:nvPicPr>
          <p:cNvPr id="9" name="Picture 7" descr="LOGO_NG_HWHFY_PMS300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439876" y="246904"/>
            <a:ext cx="1224871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0"/>
          <p:cNvCxnSpPr/>
          <p:nvPr userDrawn="1"/>
        </p:nvCxnSpPr>
        <p:spPr>
          <a:xfrm>
            <a:off x="577054" y="1078789"/>
            <a:ext cx="8067677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352847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n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81025" y="1357314"/>
            <a:ext cx="8105775" cy="493921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b="1">
                <a:solidFill>
                  <a:srgbClr val="000000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9C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8D4F86-0A65-4848-91C8-135B38B744E1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81025" y="545045"/>
            <a:ext cx="7968615" cy="648754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1">
                <a:solidFill>
                  <a:srgbClr val="00355F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1">
                <a:solidFill>
                  <a:srgbClr val="00355F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1">
                <a:solidFill>
                  <a:srgbClr val="00355F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1">
                <a:solidFill>
                  <a:srgbClr val="00355F"/>
                </a:solidFill>
              </a:defRPr>
            </a:lvl9pPr>
          </a:lstStyle>
          <a:p>
            <a:pPr lvl="0"/>
            <a:r>
              <a:rPr lang="en-US" dirty="0"/>
              <a:t>Click to edit 3 line key message (Arial-Italic-14pt)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7054" y="1229314"/>
            <a:ext cx="8067677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529043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81024" y="854074"/>
            <a:ext cx="8105776" cy="544245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b="1">
                <a:solidFill>
                  <a:srgbClr val="000000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9C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7054" y="840689"/>
            <a:ext cx="8067677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248948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Colums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788" y="152570"/>
            <a:ext cx="8101012" cy="3841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79C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581025" y="1202302"/>
            <a:ext cx="3922713" cy="50817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(Arial-Bold-14pt)</a:t>
            </a:r>
          </a:p>
          <a:p>
            <a:pPr lvl="1"/>
            <a:r>
              <a:rPr lang="en-US" dirty="0"/>
              <a:t>Second level (Arial-12pt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4632325" y="1202302"/>
            <a:ext cx="4054475" cy="50817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81025" y="623454"/>
            <a:ext cx="7968615" cy="41997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 baseline="0">
                <a:solidFill>
                  <a:srgbClr val="00355F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9pPr>
          </a:lstStyle>
          <a:p>
            <a:pPr lvl="0"/>
            <a:r>
              <a:rPr lang="en-US" dirty="0"/>
              <a:t>Click to edit 1 or 2 line key message (Arial – Italic – 14pt)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77054" y="1078789"/>
            <a:ext cx="8067677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293908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dth_subhead lef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7"/>
          <p:cNvSpPr>
            <a:spLocks noChangeShapeType="1"/>
          </p:cNvSpPr>
          <p:nvPr/>
        </p:nvSpPr>
        <p:spPr bwMode="auto">
          <a:xfrm rot="5400000">
            <a:off x="-349184" y="3475038"/>
            <a:ext cx="5581650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2000" tIns="72000" rIns="72000" bIns="7200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ea typeface="ＭＳ Ｐゴシック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581024" y="854075"/>
            <a:ext cx="1761484" cy="5475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527442" y="854075"/>
            <a:ext cx="6159358" cy="5475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47AF767-1F81-F941-ACFA-2A50EC50FE1E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7054" y="840689"/>
            <a:ext cx="8067677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9418352"/>
      </p:ext>
    </p:extLst>
  </p:cSld>
  <p:clrMapOvr>
    <a:masterClrMapping/>
  </p:clrMapOvr>
  <p:transition spd="slow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79438" y="831849"/>
            <a:ext cx="8107362" cy="2600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79438" y="3573463"/>
            <a:ext cx="8107362" cy="27320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049C3C-4B4D-B14D-BC50-A5B3FE37EEF1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7054" y="840689"/>
            <a:ext cx="8067677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818665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inition of Ter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8"/>
          <p:cNvSpPr txBox="1">
            <a:spLocks noChangeArrowheads="1"/>
          </p:cNvSpPr>
          <p:nvPr/>
        </p:nvSpPr>
        <p:spPr bwMode="auto">
          <a:xfrm>
            <a:off x="581026" y="6096000"/>
            <a:ext cx="709295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i="1" dirty="0">
                <a:solidFill>
                  <a:srgbClr val="000000"/>
                </a:solidFill>
              </a:rPr>
              <a:t>Note:  All dollar amounts are presented in thousands except per units data or unless otherwise noted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2"/>
          </p:nvPr>
        </p:nvSpPr>
        <p:spPr>
          <a:xfrm>
            <a:off x="581025" y="854075"/>
            <a:ext cx="8105775" cy="4988941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en-US" noProof="0" dirty="0"/>
              <a:t>Click icon to add tab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96892A7-660C-5643-8944-0CFA94FB68C3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7054" y="840689"/>
            <a:ext cx="8067677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3360324"/>
      </p:ext>
    </p:extLst>
  </p:cSld>
  <p:clrMapOvr>
    <a:masterClrMapping/>
  </p:clrMapOvr>
  <p:transition spd="slow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81025" y="639763"/>
            <a:ext cx="3915130" cy="5689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  <a:lvl6pPr marL="685800" indent="0">
              <a:buNone/>
              <a:defRPr/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4632326" y="634937"/>
            <a:ext cx="4054474" cy="56706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5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981494-E5EE-8F46-9728-D91DCD3F58AA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878544"/>
      </p:ext>
    </p:extLst>
  </p:cSld>
  <p:clrMapOvr>
    <a:masterClrMapping/>
  </p:clrMapOvr>
  <p:transition spd="slow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3"/>
          <p:cNvCxnSpPr/>
          <p:nvPr/>
        </p:nvCxnSpPr>
        <p:spPr>
          <a:xfrm>
            <a:off x="700088" y="1382713"/>
            <a:ext cx="7999412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8"/>
          <p:cNvSpPr txBox="1">
            <a:spLocks noChangeArrowheads="1"/>
          </p:cNvSpPr>
          <p:nvPr userDrawn="1"/>
        </p:nvSpPr>
        <p:spPr bwMode="auto">
          <a:xfrm>
            <a:off x="3024188" y="0"/>
            <a:ext cx="2667000" cy="2460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US" sz="1000" b="1" i="1" dirty="0">
                <a:solidFill>
                  <a:srgbClr val="808080"/>
                </a:solidFill>
              </a:rPr>
              <a:t>Confidential: Not for Distribution</a:t>
            </a:r>
          </a:p>
        </p:txBody>
      </p:sp>
      <p:pic>
        <p:nvPicPr>
          <p:cNvPr id="5" name="Picture 10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811963" y="131763"/>
            <a:ext cx="1828800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marL="0" algn="r" defTabSz="914400" rtl="0" eaLnBrk="1" latinLnBrk="0" hangingPunct="1">
              <a:defRPr lang="en-US" altLang="en-US" sz="12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fld id="{7B0CFC24-293F-41E6-B631-8E03403108DF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537409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hart, 1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632325" y="634937"/>
            <a:ext cx="4054475" cy="56706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6"/>
          </p:nvPr>
        </p:nvSpPr>
        <p:spPr>
          <a:xfrm>
            <a:off x="581025" y="633413"/>
            <a:ext cx="3917823" cy="56721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7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201FC8-56AD-AF4A-B60F-EC4C3FB07D1B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7115990"/>
      </p:ext>
    </p:extLst>
  </p:cSld>
  <p:clrMapOvr>
    <a:masterClrMapping/>
  </p:clrMapOvr>
  <p:transition spd="slow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Wide Chart, 1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5632450" y="634937"/>
            <a:ext cx="3054350" cy="56706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6"/>
          </p:nvPr>
        </p:nvSpPr>
        <p:spPr>
          <a:xfrm>
            <a:off x="581025" y="633413"/>
            <a:ext cx="4919669" cy="56721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7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647AEA-5940-4B4F-907F-6404DBDD3564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775252"/>
      </p:ext>
    </p:extLst>
  </p:cSld>
  <p:clrMapOvr>
    <a:masterClrMapping/>
  </p:clrMapOvr>
  <p:transition spd="slow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hart (Left), 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81026" y="3573462"/>
            <a:ext cx="3922712" cy="27320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632325" y="634937"/>
            <a:ext cx="4054475" cy="56706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6"/>
          </p:nvPr>
        </p:nvSpPr>
        <p:spPr>
          <a:xfrm>
            <a:off x="584201" y="620650"/>
            <a:ext cx="3922712" cy="28099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7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5E2D27-9A1A-BC43-8DF3-F5D19383AC60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474143"/>
      </p:ext>
    </p:extLst>
  </p:cSld>
  <p:clrMapOvr>
    <a:masterClrMapping/>
  </p:clrMapOvr>
  <p:transition spd="slow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, 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632325" y="3576638"/>
            <a:ext cx="4054476" cy="27289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632325" y="633413"/>
            <a:ext cx="4054476" cy="279717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/>
          </p:nvPr>
        </p:nvSpPr>
        <p:spPr>
          <a:xfrm>
            <a:off x="581025" y="633413"/>
            <a:ext cx="3922713" cy="27971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/>
          </p:nvPr>
        </p:nvSpPr>
        <p:spPr>
          <a:xfrm>
            <a:off x="589091" y="3576638"/>
            <a:ext cx="3917822" cy="27241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28"/>
          <p:cNvSpPr>
            <a:spLocks noGrp="1" noChangeArrowheads="1"/>
          </p:cNvSpPr>
          <p:nvPr>
            <p:ph type="sldNum" sz="quarter" idx="20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8081BE-BBCF-0240-A6F6-083AC94136C6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02440"/>
      </p:ext>
    </p:extLst>
  </p:cSld>
  <p:clrMapOvr>
    <a:masterClrMapping/>
  </p:clrMapOvr>
  <p:transition spd="slow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hart (Top), 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581024" y="633413"/>
            <a:ext cx="8105776" cy="27924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581025" y="3576638"/>
            <a:ext cx="3929063" cy="27289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4638675" y="3576638"/>
            <a:ext cx="4048126" cy="27289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20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417A0D-05CC-7140-94CC-2C09415A93D3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8714624"/>
      </p:ext>
    </p:extLst>
  </p:cSld>
  <p:clrMapOvr>
    <a:masterClrMapping/>
  </p:clrMapOvr>
  <p:transition spd="slow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hart (Top), 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"/>
          <p:cNvSpPr>
            <a:spLocks noGrp="1" noChangeArrowheads="1"/>
          </p:cNvSpPr>
          <p:nvPr>
            <p:ph type="sldNum" sz="quarter" idx="20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417A0D-05CC-7140-94CC-2C09415A93D3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  <p:pic>
        <p:nvPicPr>
          <p:cNvPr id="7" name="Picture 7" descr="LOGO_NG_HWHFY_PMS300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35425" y="6506305"/>
            <a:ext cx="1015644" cy="303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1"/>
          <p:cNvSpPr/>
          <p:nvPr userDrawn="1"/>
        </p:nvSpPr>
        <p:spPr>
          <a:xfrm>
            <a:off x="0" y="0"/>
            <a:ext cx="9144000" cy="957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810832"/>
      </p:ext>
    </p:extLst>
  </p:cSld>
  <p:clrMapOvr>
    <a:masterClrMapping/>
  </p:clrMapOvr>
  <p:transition spd="slow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Page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4944" y="813816"/>
            <a:ext cx="7936992" cy="5394960"/>
          </a:xfrm>
        </p:spPr>
        <p:txBody>
          <a:bodyPr/>
          <a:lstStyle>
            <a:lvl5pPr>
              <a:defRPr/>
            </a:lvl5pPr>
            <a:lvl6pPr marL="914400">
              <a:defRPr/>
            </a:lvl6pPr>
            <a:lvl7pPr marL="1143000">
              <a:defRPr/>
            </a:lvl7pPr>
            <a:lvl8pPr marL="1371600">
              <a:defRPr/>
            </a:lvl8pPr>
            <a:lvl9pPr marL="1600200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D49A180E-EA7F-41F4-BBDD-187EA9DBEA5D}" type="slidenum">
              <a:rPr lang="en-US">
                <a:solidFill>
                  <a:srgbClr val="5E8AB4"/>
                </a:solidFill>
              </a:rPr>
              <a:pPr/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-1019556"/>
            <a:ext cx="2286000" cy="219456"/>
          </a:xfrm>
        </p:spPr>
        <p:txBody>
          <a:bodyPr lIns="18288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Chapter Number and Title</a:t>
            </a:r>
          </a:p>
        </p:txBody>
      </p:sp>
    </p:spTree>
    <p:extLst>
      <p:ext uri="{BB962C8B-B14F-4D97-AF65-F5344CB8AC3E}">
        <p14:creationId xmlns:p14="http://schemas.microsoft.com/office/powerpoint/2010/main" val="1971399289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40E319-A8AD-4D39-9BA2-E8C45408D69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122535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D7BB2C-F6CF-4C83-AEE3-C7F09FD68D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8466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FFE8B9-5225-4411-9058-4DECA92CB81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5573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5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3"/>
          <p:cNvCxnSpPr/>
          <p:nvPr/>
        </p:nvCxnSpPr>
        <p:spPr>
          <a:xfrm>
            <a:off x="700088" y="1382713"/>
            <a:ext cx="7999412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8"/>
          <p:cNvSpPr txBox="1">
            <a:spLocks noChangeArrowheads="1"/>
          </p:cNvSpPr>
          <p:nvPr userDrawn="1"/>
        </p:nvSpPr>
        <p:spPr bwMode="auto">
          <a:xfrm>
            <a:off x="3024188" y="0"/>
            <a:ext cx="2667000" cy="2460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US" sz="1000" b="1" i="1" dirty="0">
                <a:solidFill>
                  <a:srgbClr val="808080"/>
                </a:solidFill>
              </a:rPr>
              <a:t>Confidential: Not for Distribution</a:t>
            </a:r>
          </a:p>
        </p:txBody>
      </p:sp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811963" y="131763"/>
            <a:ext cx="1828800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5" y="881003"/>
            <a:ext cx="8093075" cy="40011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2BD49AB-EF7C-4E8C-A676-328CBF60D0CF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7B20F0-7CFB-45B4-910E-690DD5079E5D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186534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14400"/>
            <a:ext cx="40386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14400"/>
            <a:ext cx="40386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1A35A4-C64B-40E8-90BD-C9144D5CFFD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7039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B1D003-1676-4002-8FA2-BDBB188D0C2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240163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446245-6555-4FA7-A63C-57252EBCDC2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73460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61BD2E-63E1-4C62-B1DC-8BEBD85F00B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14588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9221C1-46DA-430A-BBE0-382F0F8BD43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711977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77B2F1-78B4-4D28-B65E-8F04D8EDA1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011014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8912A2-2111-476C-B175-491F38B921A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63331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52400"/>
            <a:ext cx="2057400" cy="5943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6019800" cy="59436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465220-9518-4D16-BB42-6F3ECE6354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311039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007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Freeform 2"/>
          <p:cNvSpPr>
            <a:spLocks/>
          </p:cNvSpPr>
          <p:nvPr/>
        </p:nvSpPr>
        <p:spPr bwMode="auto">
          <a:xfrm>
            <a:off x="0" y="0"/>
            <a:ext cx="9159875" cy="2400300"/>
          </a:xfrm>
          <a:custGeom>
            <a:avLst/>
            <a:gdLst>
              <a:gd name="T0" fmla="*/ 0 w 5760"/>
              <a:gd name="T1" fmla="*/ 0 h 1512"/>
              <a:gd name="T2" fmla="*/ 0 w 5760"/>
              <a:gd name="T3" fmla="*/ 1368 h 1512"/>
              <a:gd name="T4" fmla="*/ 1008 w 5760"/>
              <a:gd name="T5" fmla="*/ 1368 h 1512"/>
              <a:gd name="T6" fmla="*/ 1152 w 5760"/>
              <a:gd name="T7" fmla="*/ 1512 h 1512"/>
              <a:gd name="T8" fmla="*/ 1296 w 5760"/>
              <a:gd name="T9" fmla="*/ 1368 h 1512"/>
              <a:gd name="T10" fmla="*/ 5760 w 5760"/>
              <a:gd name="T11" fmla="*/ 1368 h 1512"/>
              <a:gd name="T12" fmla="*/ 5760 w 5760"/>
              <a:gd name="T13" fmla="*/ 0 h 1512"/>
              <a:gd name="T14" fmla="*/ 0 w 5760"/>
              <a:gd name="T15" fmla="*/ 0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60" h="1512">
                <a:moveTo>
                  <a:pt x="0" y="0"/>
                </a:moveTo>
                <a:lnTo>
                  <a:pt x="0" y="1368"/>
                </a:lnTo>
                <a:lnTo>
                  <a:pt x="1008" y="1368"/>
                </a:lnTo>
                <a:lnTo>
                  <a:pt x="1152" y="1512"/>
                </a:lnTo>
                <a:lnTo>
                  <a:pt x="1296" y="1368"/>
                </a:lnTo>
                <a:lnTo>
                  <a:pt x="5760" y="1368"/>
                </a:lnTo>
                <a:lnTo>
                  <a:pt x="57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10137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279525"/>
            <a:ext cx="8043863" cy="639763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altLang="en-US" noProof="0"/>
              <a:t>Click to edit Master title style</a:t>
            </a:r>
          </a:p>
        </p:txBody>
      </p:sp>
      <p:sp>
        <p:nvSpPr>
          <p:cNvPr id="10138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0" y="2882900"/>
            <a:ext cx="8043863" cy="50323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pic>
        <p:nvPicPr>
          <p:cNvPr id="101383" name="Picture 7" descr="National_Grid_logo_blu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342900"/>
            <a:ext cx="1830388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600428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4AF284C-7D58-4047-B9CE-544F9ED7E81B}" type="datetime1">
              <a:rPr lang="en-US" altLang="en-US">
                <a:solidFill>
                  <a:srgbClr val="000000"/>
                </a:solidFill>
              </a:rPr>
              <a:pPr/>
              <a:t>6/22/2020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4AD46EA-C20B-4B94-94A5-E2AD365D2BD8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17153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3"/>
          <p:cNvCxnSpPr/>
          <p:nvPr/>
        </p:nvCxnSpPr>
        <p:spPr>
          <a:xfrm>
            <a:off x="700088" y="1382713"/>
            <a:ext cx="7999412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8"/>
          <p:cNvSpPr txBox="1">
            <a:spLocks noChangeArrowheads="1"/>
          </p:cNvSpPr>
          <p:nvPr userDrawn="1"/>
        </p:nvSpPr>
        <p:spPr bwMode="auto">
          <a:xfrm>
            <a:off x="3024188" y="0"/>
            <a:ext cx="2667000" cy="2460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US" sz="1000" b="1" i="1" dirty="0">
                <a:solidFill>
                  <a:srgbClr val="808080"/>
                </a:solidFill>
              </a:rPr>
              <a:t>Confidential: Not for Distribution</a:t>
            </a:r>
          </a:p>
        </p:txBody>
      </p: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811963" y="131763"/>
            <a:ext cx="1828800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0800" y="1810800"/>
            <a:ext cx="8388000" cy="453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69888" y="6407150"/>
            <a:ext cx="7559675" cy="252413"/>
          </a:xfrm>
        </p:spPr>
        <p:txBody>
          <a:bodyPr lIns="0" tIns="0" rIns="0" bIns="0" rtlCol="0" anchor="ctr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5325704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0EE08C2-453E-47DD-8321-FA00633FA6AD}" type="datetime1">
              <a:rPr lang="en-US" altLang="en-US">
                <a:solidFill>
                  <a:srgbClr val="000000"/>
                </a:solidFill>
              </a:rPr>
              <a:pPr/>
              <a:t>6/22/2020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B269A87-8ECE-44AD-AB16-69CC5E58B025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42296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794147D-5AB3-4367-BCDE-95A48EEB84B0}" type="datetime1">
              <a:rPr lang="en-US" altLang="en-US">
                <a:solidFill>
                  <a:srgbClr val="000000"/>
                </a:solidFill>
              </a:rPr>
              <a:pPr/>
              <a:t>6/22/2020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D9A32FB-463E-4071-93F1-682AD419770F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28114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E491DF4-A8D2-4577-9C2E-C39D9FC0CBF6}" type="datetime1">
              <a:rPr lang="en-US" altLang="en-US">
                <a:solidFill>
                  <a:srgbClr val="000000"/>
                </a:solidFill>
              </a:rPr>
              <a:pPr/>
              <a:t>6/22/2020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BE7697B-D3EE-4498-A6D1-10501D7995AB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967333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A9ED121-1794-4AEC-B643-9DCEB65D51FC}" type="datetime1">
              <a:rPr lang="en-US" altLang="en-US">
                <a:solidFill>
                  <a:srgbClr val="000000"/>
                </a:solidFill>
              </a:rPr>
              <a:pPr/>
              <a:t>6/22/2020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7261B7A-1D59-4F6A-B6E1-6D9871B2D9CB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23982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BD4AB9E-0652-47D2-851D-73CC32B9A523}" type="datetime1">
              <a:rPr lang="en-US" altLang="en-US">
                <a:solidFill>
                  <a:srgbClr val="000000"/>
                </a:solidFill>
              </a:rPr>
              <a:pPr/>
              <a:t>6/22/2020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B274C1-D2A9-43E8-B12F-95F78D36E587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09475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EBC02F6-0223-4BB4-8443-A2C51166C162}" type="datetime1">
              <a:rPr lang="en-US" altLang="en-US">
                <a:solidFill>
                  <a:srgbClr val="000000"/>
                </a:solidFill>
              </a:rPr>
              <a:pPr/>
              <a:t>6/22/2020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3AB09BE-BE4B-4948-AC24-B4F2A1BE2EA6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42777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01A4C62-9034-4556-B408-85B2785F283D}" type="datetime1">
              <a:rPr lang="en-US" altLang="en-US">
                <a:solidFill>
                  <a:srgbClr val="000000"/>
                </a:solidFill>
              </a:rPr>
              <a:pPr/>
              <a:t>6/22/2020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2AC3CC4-DAC5-4858-BFE0-1259FA27EBE3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16836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ABBDADE-5734-478F-8D5A-AF7311634603}" type="datetime1">
              <a:rPr lang="en-US" altLang="en-US">
                <a:solidFill>
                  <a:srgbClr val="000000"/>
                </a:solidFill>
              </a:rPr>
              <a:pPr/>
              <a:t>6/22/2020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D479D5A-CC25-4066-B3BA-2A528D5F1B6C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6345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4325" y="762000"/>
            <a:ext cx="2022475" cy="5372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93725" y="762000"/>
            <a:ext cx="5918200" cy="5372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5369AC-316B-4265-9868-7DEF946F7A11}" type="datetime1">
              <a:rPr lang="en-US" altLang="en-US">
                <a:solidFill>
                  <a:srgbClr val="000000"/>
                </a:solidFill>
              </a:rPr>
              <a:pPr/>
              <a:t>6/22/2020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7C55C6B-34D4-4F9A-8F0E-9AB8F0B0BE5C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70082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007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3"/>
          <p:cNvSpPr>
            <a:spLocks/>
          </p:cNvSpPr>
          <p:nvPr/>
        </p:nvSpPr>
        <p:spPr bwMode="auto">
          <a:xfrm>
            <a:off x="3" y="0"/>
            <a:ext cx="9159875" cy="2400300"/>
          </a:xfrm>
          <a:custGeom>
            <a:avLst/>
            <a:gdLst>
              <a:gd name="T0" fmla="*/ 0 w 5760"/>
              <a:gd name="T1" fmla="*/ 0 h 1512"/>
              <a:gd name="T2" fmla="*/ 0 w 5760"/>
              <a:gd name="T3" fmla="*/ 2171700 h 1512"/>
              <a:gd name="T4" fmla="*/ 1602978 w 5760"/>
              <a:gd name="T5" fmla="*/ 2171700 h 1512"/>
              <a:gd name="T6" fmla="*/ 1831975 w 5760"/>
              <a:gd name="T7" fmla="*/ 2400300 h 1512"/>
              <a:gd name="T8" fmla="*/ 2060972 w 5760"/>
              <a:gd name="T9" fmla="*/ 2171700 h 1512"/>
              <a:gd name="T10" fmla="*/ 9159875 w 5760"/>
              <a:gd name="T11" fmla="*/ 2171700 h 1512"/>
              <a:gd name="T12" fmla="*/ 9159875 w 5760"/>
              <a:gd name="T13" fmla="*/ 0 h 1512"/>
              <a:gd name="T14" fmla="*/ 0 w 5760"/>
              <a:gd name="T15" fmla="*/ 0 h 15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760" h="1512">
                <a:moveTo>
                  <a:pt x="0" y="0"/>
                </a:moveTo>
                <a:lnTo>
                  <a:pt x="0" y="1368"/>
                </a:lnTo>
                <a:lnTo>
                  <a:pt x="1008" y="1368"/>
                </a:lnTo>
                <a:lnTo>
                  <a:pt x="1152" y="1512"/>
                </a:lnTo>
                <a:lnTo>
                  <a:pt x="1296" y="1368"/>
                </a:lnTo>
                <a:lnTo>
                  <a:pt x="5760" y="1368"/>
                </a:lnTo>
                <a:lnTo>
                  <a:pt x="57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800" b="1" dirty="0">
              <a:solidFill>
                <a:srgbClr val="0079C1"/>
              </a:solidFill>
            </a:endParaRPr>
          </a:p>
        </p:txBody>
      </p:sp>
      <p:pic>
        <p:nvPicPr>
          <p:cNvPr id="5" name="Picture 44" descr="National_Grid_logo_blu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10377" y="342900"/>
            <a:ext cx="1830388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02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593730" y="1337797"/>
            <a:ext cx="8043863" cy="523220"/>
          </a:xfrm>
          <a:extLst/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302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9" y="5164292"/>
            <a:ext cx="8043863" cy="503237"/>
          </a:xfrm>
          <a:extLst/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0681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007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/>
        </p:nvSpPr>
        <p:spPr bwMode="auto">
          <a:xfrm>
            <a:off x="0" y="0"/>
            <a:ext cx="9159875" cy="2400300"/>
          </a:xfrm>
          <a:custGeom>
            <a:avLst/>
            <a:gdLst>
              <a:gd name="T0" fmla="*/ 0 w 5760"/>
              <a:gd name="T1" fmla="*/ 0 h 1512"/>
              <a:gd name="T2" fmla="*/ 0 w 5760"/>
              <a:gd name="T3" fmla="*/ 2147483647 h 1512"/>
              <a:gd name="T4" fmla="*/ 2147483647 w 5760"/>
              <a:gd name="T5" fmla="*/ 2147483647 h 1512"/>
              <a:gd name="T6" fmla="*/ 2147483647 w 5760"/>
              <a:gd name="T7" fmla="*/ 2147483647 h 1512"/>
              <a:gd name="T8" fmla="*/ 2147483647 w 5760"/>
              <a:gd name="T9" fmla="*/ 2147483647 h 1512"/>
              <a:gd name="T10" fmla="*/ 2147483647 w 5760"/>
              <a:gd name="T11" fmla="*/ 2147483647 h 1512"/>
              <a:gd name="T12" fmla="*/ 2147483647 w 5760"/>
              <a:gd name="T13" fmla="*/ 0 h 1512"/>
              <a:gd name="T14" fmla="*/ 0 w 5760"/>
              <a:gd name="T15" fmla="*/ 0 h 15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760" h="1512">
                <a:moveTo>
                  <a:pt x="0" y="0"/>
                </a:moveTo>
                <a:lnTo>
                  <a:pt x="0" y="1368"/>
                </a:lnTo>
                <a:lnTo>
                  <a:pt x="1008" y="1368"/>
                </a:lnTo>
                <a:lnTo>
                  <a:pt x="1152" y="1512"/>
                </a:lnTo>
                <a:lnTo>
                  <a:pt x="1296" y="1368"/>
                </a:lnTo>
                <a:lnTo>
                  <a:pt x="5760" y="1368"/>
                </a:lnTo>
                <a:lnTo>
                  <a:pt x="57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800" b="1" dirty="0">
              <a:solidFill>
                <a:srgbClr val="0079C1"/>
              </a:solidFill>
            </a:endParaRPr>
          </a:p>
        </p:txBody>
      </p:sp>
      <p:pic>
        <p:nvPicPr>
          <p:cNvPr id="5" name="Picture 7" descr="National_Grid_logo_blu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10375" y="342900"/>
            <a:ext cx="1830388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137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279525"/>
            <a:ext cx="8043863" cy="639763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138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0" y="2882900"/>
            <a:ext cx="8043863" cy="503238"/>
          </a:xfrm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6729749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012620" y="6497161"/>
            <a:ext cx="2133600" cy="361950"/>
          </a:xfrm>
        </p:spPr>
        <p:txBody>
          <a:bodyPr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29AE523-772A-43AD-AAB6-3266E612BB21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34546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53"/>
            <a:ext cx="7772400" cy="1323439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8237868B-EE6F-455E-A704-AA4B9EFB4A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00445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6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483350"/>
            <a:ext cx="2133600" cy="36195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1">
                <a:solidFill>
                  <a:srgbClr val="0070C0"/>
                </a:solidFill>
              </a:defRPr>
            </a:lvl1pPr>
          </a:lstStyle>
          <a:p>
            <a:pPr>
              <a:defRPr/>
            </a:pPr>
            <a:fld id="{C3A37ED4-FDCD-4F31-99AF-1DFA55DE922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517018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94418"/>
            <a:ext cx="8229600" cy="5232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C3DD91EF-D4CD-427F-A7B2-317DCE8345B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12893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7003746" y="6497161"/>
            <a:ext cx="2133600" cy="361950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29AE523-772A-43AD-AAB6-3266E612BB21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52254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13A01B2-F889-45C2-8ABF-F7248B072CD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68133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29AE523-772A-43AD-AAB6-3266E612BB21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3487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77" y="727214"/>
            <a:ext cx="3008313" cy="707886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77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24873EA-6223-4AE4-AD41-DDEED53E79D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86160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967228"/>
            <a:ext cx="5486400" cy="40011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553F5EB4-7CEE-4C77-BE3D-0991A118930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609999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1C15BF7B-B469-44E9-8068-9F3AF62096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11695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28BD2D4-1074-48E5-B298-9D0D7BA2922A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C2C5EFB-4D23-4208-8647-3E7A700FE29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8712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4341" y="762000"/>
            <a:ext cx="615553" cy="5372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93726" y="762000"/>
            <a:ext cx="5918200" cy="5372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CC8B7C23-EF22-4E85-A616-2A15DF1C3C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49097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63" y="762000"/>
            <a:ext cx="8093075" cy="5191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485900"/>
            <a:ext cx="3968750" cy="464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14876" y="1485900"/>
            <a:ext cx="3968750" cy="464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C97CA330-CBE8-4506-9A0B-38A4408837A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69955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sic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2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13716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800" b="1" dirty="0">
              <a:solidFill>
                <a:srgbClr val="0079C1"/>
              </a:solidFill>
            </a:endParaRPr>
          </a:p>
        </p:txBody>
      </p:sp>
      <p:pic>
        <p:nvPicPr>
          <p:cNvPr id="6" name="Picture 26" descr="NG_HWHFY_white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810376" y="593725"/>
            <a:ext cx="18002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06400" y="1155700"/>
            <a:ext cx="5715000" cy="5138928"/>
          </a:xfrm>
        </p:spPr>
        <p:txBody>
          <a:bodyPr/>
          <a:lstStyle>
            <a:lvl1pPr>
              <a:buNone/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MSTSHP_01"/>
          <p:cNvSpPr>
            <a:spLocks noGrp="1" noChangeArrowheads="1"/>
          </p:cNvSpPr>
          <p:nvPr>
            <p:ph type="title"/>
          </p:nvPr>
        </p:nvSpPr>
        <p:spPr bwMode="auto">
          <a:xfrm>
            <a:off x="400050" y="342230"/>
            <a:ext cx="833755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509076" y="6526367"/>
            <a:ext cx="600075" cy="287337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400" b="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DD18ED7F-0066-4B93-8B56-DA02563E631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2492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95157D-BCEA-43CA-AA60-894836F315E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229669"/>
      </p:ext>
    </p:extLst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364F80-B7CA-4F8B-8C8F-47CAED9498D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2354146"/>
      </p:ext>
    </p:extLst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411A43-8A9F-4561-AAFE-A2198E0D14E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678687"/>
      </p:ext>
    </p:extLst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48542B-C1F2-4111-B864-0731866DD61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57318"/>
      </p:ext>
    </p:extLst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3FEE23-87DA-4924-9E1A-CD6A8A1E597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4465987"/>
      </p:ext>
    </p:extLst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5DBCAC-6055-4055-850E-E34BE8EA3C6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251972"/>
      </p:ext>
    </p:extLst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42D05F-98AA-4EE3-BB20-A46A1ECDD35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692694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58B93F6-35D8-40D8-B0F6-A4A953FFB0E2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5B20728-70C2-4BFC-8618-B4F5C2988D9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355471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2002B8-7187-47FD-BA42-794EEA9C406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502138"/>
      </p:ext>
    </p:extLst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809E7-BDA5-4B58-8682-D06400892B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9667693"/>
      </p:ext>
    </p:extLst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F4C283-49C8-4CCC-86DE-3F326F407C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815329"/>
      </p:ext>
    </p:extLst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4325" y="762000"/>
            <a:ext cx="2022475" cy="5372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93725" y="762000"/>
            <a:ext cx="5918200" cy="5372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4FF309-634A-4E2C-B9F3-8EDE0762C6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058236"/>
      </p:ext>
    </p:extLst>
  </p:cSld>
  <p:clrMapOvr>
    <a:masterClrMapping/>
  </p:clrMapOvr>
  <p:transition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007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3"/>
          <p:cNvSpPr>
            <a:spLocks/>
          </p:cNvSpPr>
          <p:nvPr/>
        </p:nvSpPr>
        <p:spPr bwMode="auto">
          <a:xfrm>
            <a:off x="0" y="0"/>
            <a:ext cx="9159875" cy="2400300"/>
          </a:xfrm>
          <a:custGeom>
            <a:avLst/>
            <a:gdLst>
              <a:gd name="T0" fmla="*/ 0 w 5760"/>
              <a:gd name="T1" fmla="*/ 0 h 1512"/>
              <a:gd name="T2" fmla="*/ 0 w 5760"/>
              <a:gd name="T3" fmla="*/ 2147483647 h 1512"/>
              <a:gd name="T4" fmla="*/ 2147483647 w 5760"/>
              <a:gd name="T5" fmla="*/ 2147483647 h 1512"/>
              <a:gd name="T6" fmla="*/ 2147483647 w 5760"/>
              <a:gd name="T7" fmla="*/ 2147483647 h 1512"/>
              <a:gd name="T8" fmla="*/ 2147483647 w 5760"/>
              <a:gd name="T9" fmla="*/ 2147483647 h 1512"/>
              <a:gd name="T10" fmla="*/ 2147483647 w 5760"/>
              <a:gd name="T11" fmla="*/ 2147483647 h 1512"/>
              <a:gd name="T12" fmla="*/ 2147483647 w 5760"/>
              <a:gd name="T13" fmla="*/ 0 h 1512"/>
              <a:gd name="T14" fmla="*/ 0 w 5760"/>
              <a:gd name="T15" fmla="*/ 0 h 15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760" h="1512">
                <a:moveTo>
                  <a:pt x="0" y="0"/>
                </a:moveTo>
                <a:lnTo>
                  <a:pt x="0" y="1368"/>
                </a:lnTo>
                <a:lnTo>
                  <a:pt x="1008" y="1368"/>
                </a:lnTo>
                <a:lnTo>
                  <a:pt x="1152" y="1512"/>
                </a:lnTo>
                <a:lnTo>
                  <a:pt x="1296" y="1368"/>
                </a:lnTo>
                <a:lnTo>
                  <a:pt x="5760" y="1368"/>
                </a:lnTo>
                <a:lnTo>
                  <a:pt x="57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5" name="Line 36"/>
          <p:cNvSpPr>
            <a:spLocks noChangeShapeType="1"/>
          </p:cNvSpPr>
          <p:nvPr/>
        </p:nvSpPr>
        <p:spPr bwMode="auto">
          <a:xfrm flipH="1" flipV="1">
            <a:off x="685800" y="29718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6" name="Line 39"/>
          <p:cNvSpPr>
            <a:spLocks noChangeShapeType="1"/>
          </p:cNvSpPr>
          <p:nvPr/>
        </p:nvSpPr>
        <p:spPr bwMode="auto">
          <a:xfrm>
            <a:off x="2400300" y="43434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7" name="Line 40"/>
          <p:cNvSpPr>
            <a:spLocks noChangeShapeType="1"/>
          </p:cNvSpPr>
          <p:nvPr/>
        </p:nvSpPr>
        <p:spPr bwMode="auto">
          <a:xfrm flipH="1">
            <a:off x="685800" y="43434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8" name="Line 41"/>
          <p:cNvSpPr>
            <a:spLocks noChangeShapeType="1"/>
          </p:cNvSpPr>
          <p:nvPr/>
        </p:nvSpPr>
        <p:spPr bwMode="auto">
          <a:xfrm flipV="1">
            <a:off x="2400300" y="29718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1028700" y="3216275"/>
            <a:ext cx="1439863" cy="12414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" tIns="10800" rIns="18000" bIns="10800">
            <a:spAutoFit/>
          </a:bodyPr>
          <a:lstStyle>
            <a:lvl1pPr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1pPr>
            <a:lvl2pPr marL="742950" indent="-28575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marL="11430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marL="16002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marL="20574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Place your chosen image here. The four corners must just cover the arrow tips. For covers, the three pictures should be the same size and in a straight line.   </a:t>
            </a:r>
            <a:endParaRPr lang="en-US" dirty="0"/>
          </a:p>
        </p:txBody>
      </p:sp>
      <p:pic>
        <p:nvPicPr>
          <p:cNvPr id="10" name="Picture 44" descr="National_Grid_logo_blu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342900"/>
            <a:ext cx="1830388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2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279525"/>
            <a:ext cx="8043863" cy="639763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302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0" y="5164138"/>
            <a:ext cx="8043863" cy="50323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6644923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65C46E-3FEF-4AD1-9294-9B11DD0E9202}" type="datetime1">
              <a:rPr lang="en-US"/>
              <a:pPr>
                <a:defRPr/>
              </a:pPr>
              <a:t>6/22/2020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4CA6C6-1DC7-42C4-8AD9-9F225F118D9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0802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C05DD3-8A96-405D-8C7E-8925BA0A327C}" type="datetime1">
              <a:rPr lang="en-US"/>
              <a:pPr>
                <a:defRPr/>
              </a:pPr>
              <a:t>6/22/2020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8B46CA-C90D-4FCB-92BE-14EBB033E0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085955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403065-D530-4C59-BDA7-5D67078130DC}" type="datetime1">
              <a:rPr lang="en-US"/>
              <a:pPr>
                <a:defRPr/>
              </a:pPr>
              <a:t>6/22/2020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786EC2-D77C-472F-BCBE-8CA89434013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98191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E89953-E34D-45B7-B8BE-5321BFBCD260}" type="datetime1">
              <a:rPr lang="en-US"/>
              <a:pPr>
                <a:defRPr/>
              </a:pPr>
              <a:t>6/22/2020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D09D60-E1A9-494D-99AF-B9024E0DB2C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40769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C37137-2CF3-4138-A704-826EAE355389}" type="datetime1">
              <a:rPr lang="en-US"/>
              <a:pPr>
                <a:defRPr/>
              </a:pPr>
              <a:t>6/22/2020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7393B7-7D58-4F04-A2B7-3699486125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2435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6708775" y="4763"/>
            <a:ext cx="1620838" cy="36830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dirty="0">
                <a:solidFill>
                  <a:srgbClr val="FF0000"/>
                </a:solidFill>
              </a:rPr>
              <a:t>Draft Vers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5A20D7F-A844-4A15-8C39-3D3DC1BE0A31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1891924-7496-4159-99D2-565462BA7E5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55472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59F0A9-0EF1-48DB-AD3F-11DFD1D97001}" type="datetime1">
              <a:rPr lang="en-US"/>
              <a:pPr>
                <a:defRPr/>
              </a:pPr>
              <a:t>6/22/2020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D4C5DE-2E3B-47B7-AD32-71C9032DC8B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870061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CA35C1-BFBE-4547-A86E-3F4C6225436D}" type="datetime1">
              <a:rPr lang="en-US"/>
              <a:pPr>
                <a:defRPr/>
              </a:pPr>
              <a:t>6/22/2020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C939D7-CF78-4258-8AD9-D5CD41B37EE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65531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4F532B-7543-407D-A4F9-D0BE11DADE1F}" type="datetime1">
              <a:rPr lang="en-US"/>
              <a:pPr>
                <a:defRPr/>
              </a:pPr>
              <a:t>6/22/2020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AAE3C7-DCDA-419C-A83B-4035A0A75E7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578014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A51E22-C5E3-42DB-B566-2D7112A5680C}" type="datetime1">
              <a:rPr lang="en-US"/>
              <a:pPr>
                <a:defRPr/>
              </a:pPr>
              <a:t>6/22/2020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6D1FFA-EA6B-4D45-AC64-9A053D6E484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29324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4325" y="762000"/>
            <a:ext cx="2022475" cy="5372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93725" y="762000"/>
            <a:ext cx="5918200" cy="5372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4975FE-3D9E-420C-96C5-52D189127AFD}" type="datetime1">
              <a:rPr lang="en-US"/>
              <a:pPr>
                <a:defRPr/>
              </a:pPr>
              <a:t>6/22/2020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BD4F9F-4216-42D0-B61B-F1A9BC151D1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44195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007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3"/>
          <p:cNvSpPr>
            <a:spLocks/>
          </p:cNvSpPr>
          <p:nvPr/>
        </p:nvSpPr>
        <p:spPr bwMode="auto">
          <a:xfrm>
            <a:off x="0" y="0"/>
            <a:ext cx="9159875" cy="2400300"/>
          </a:xfrm>
          <a:custGeom>
            <a:avLst/>
            <a:gdLst>
              <a:gd name="T0" fmla="*/ 0 w 5760"/>
              <a:gd name="T1" fmla="*/ 0 h 1512"/>
              <a:gd name="T2" fmla="*/ 0 w 5760"/>
              <a:gd name="T3" fmla="*/ 2147483647 h 1512"/>
              <a:gd name="T4" fmla="*/ 2147483647 w 5760"/>
              <a:gd name="T5" fmla="*/ 2147483647 h 1512"/>
              <a:gd name="T6" fmla="*/ 2147483647 w 5760"/>
              <a:gd name="T7" fmla="*/ 2147483647 h 1512"/>
              <a:gd name="T8" fmla="*/ 2147483647 w 5760"/>
              <a:gd name="T9" fmla="*/ 2147483647 h 1512"/>
              <a:gd name="T10" fmla="*/ 2147483647 w 5760"/>
              <a:gd name="T11" fmla="*/ 2147483647 h 1512"/>
              <a:gd name="T12" fmla="*/ 2147483647 w 5760"/>
              <a:gd name="T13" fmla="*/ 0 h 1512"/>
              <a:gd name="T14" fmla="*/ 0 w 5760"/>
              <a:gd name="T15" fmla="*/ 0 h 15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760" h="1512">
                <a:moveTo>
                  <a:pt x="0" y="0"/>
                </a:moveTo>
                <a:lnTo>
                  <a:pt x="0" y="1368"/>
                </a:lnTo>
                <a:lnTo>
                  <a:pt x="1008" y="1368"/>
                </a:lnTo>
                <a:lnTo>
                  <a:pt x="1152" y="1512"/>
                </a:lnTo>
                <a:lnTo>
                  <a:pt x="1296" y="1368"/>
                </a:lnTo>
                <a:lnTo>
                  <a:pt x="5760" y="1368"/>
                </a:lnTo>
                <a:lnTo>
                  <a:pt x="57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5" name="Line 36"/>
          <p:cNvSpPr>
            <a:spLocks noChangeShapeType="1"/>
          </p:cNvSpPr>
          <p:nvPr/>
        </p:nvSpPr>
        <p:spPr bwMode="auto">
          <a:xfrm flipH="1" flipV="1">
            <a:off x="685800" y="29718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6" name="Line 39"/>
          <p:cNvSpPr>
            <a:spLocks noChangeShapeType="1"/>
          </p:cNvSpPr>
          <p:nvPr/>
        </p:nvSpPr>
        <p:spPr bwMode="auto">
          <a:xfrm>
            <a:off x="2400300" y="43434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7" name="Line 40"/>
          <p:cNvSpPr>
            <a:spLocks noChangeShapeType="1"/>
          </p:cNvSpPr>
          <p:nvPr/>
        </p:nvSpPr>
        <p:spPr bwMode="auto">
          <a:xfrm flipH="1">
            <a:off x="685800" y="43434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8" name="Line 41"/>
          <p:cNvSpPr>
            <a:spLocks noChangeShapeType="1"/>
          </p:cNvSpPr>
          <p:nvPr/>
        </p:nvSpPr>
        <p:spPr bwMode="auto">
          <a:xfrm flipV="1">
            <a:off x="2400300" y="29718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1028700" y="3216275"/>
            <a:ext cx="1439863" cy="12414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" tIns="10800" rIns="18000" bIns="10800">
            <a:spAutoFit/>
          </a:bodyPr>
          <a:lstStyle>
            <a:lvl1pPr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1pPr>
            <a:lvl2pPr marL="742950" indent="-28575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marL="11430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marL="16002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marL="20574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Place your chosen image here. The four corners must just cover the arrow tips. For covers, the three pictures should be the same size and in a straight line.   </a:t>
            </a:r>
            <a:endParaRPr lang="en-US" dirty="0"/>
          </a:p>
        </p:txBody>
      </p:sp>
      <p:pic>
        <p:nvPicPr>
          <p:cNvPr id="10" name="Picture 44" descr="National_Grid_logo_blu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342900"/>
            <a:ext cx="1830388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2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279525"/>
            <a:ext cx="8043863" cy="639763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302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0" y="5164138"/>
            <a:ext cx="8043863" cy="50323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8875292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65C46E-3FEF-4AD1-9294-9B11DD0E9202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4CA6C6-1DC7-42C4-8AD9-9F225F118D9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762643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C05DD3-8A96-405D-8C7E-8925BA0A327C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8B46CA-C90D-4FCB-92BE-14EBB033E0A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44057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403065-D530-4C59-BDA7-5D67078130DC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786EC2-D77C-472F-BCBE-8CA89434013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98469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E89953-E34D-45B7-B8BE-5321BFBCD260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D09D60-E1A9-494D-99AF-B9024E0DB2C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2906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592138" y="188913"/>
            <a:ext cx="2540000" cy="36830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dirty="0">
                <a:solidFill>
                  <a:srgbClr val="FF0000"/>
                </a:solidFill>
              </a:rPr>
              <a:t>Draft – To be update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2829805-26E6-453A-A166-C7E5F48218BF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EFBF737-D50F-43B5-9F88-E056EDE7E27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66840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C37137-2CF3-4138-A704-826EAE355389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7393B7-7D58-4F04-A2B7-3699486125A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03138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59F0A9-0EF1-48DB-AD3F-11DFD1D97001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D4C5DE-2E3B-47B7-AD32-71C9032DC8B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47437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CA35C1-BFBE-4547-A86E-3F4C6225436D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C939D7-CF78-4258-8AD9-D5CD41B37EE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0364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4F532B-7543-407D-A4F9-D0BE11DADE1F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AAE3C7-DCDA-419C-A83B-4035A0A75E7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98293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A51E22-C5E3-42DB-B566-2D7112A5680C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6D1FFA-EA6B-4D45-AC64-9A053D6E484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41265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4325" y="762000"/>
            <a:ext cx="2022475" cy="5372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93725" y="762000"/>
            <a:ext cx="5918200" cy="5372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4975FE-3D9E-420C-96C5-52D189127AFD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BD4F9F-4216-42D0-B61B-F1A9BC151D1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734128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007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/>
        </p:nvSpPr>
        <p:spPr bwMode="auto">
          <a:xfrm>
            <a:off x="3" y="0"/>
            <a:ext cx="9159875" cy="2400300"/>
          </a:xfrm>
          <a:custGeom>
            <a:avLst/>
            <a:gdLst>
              <a:gd name="T0" fmla="*/ 0 w 5760"/>
              <a:gd name="T1" fmla="*/ 0 h 1512"/>
              <a:gd name="T2" fmla="*/ 0 w 5760"/>
              <a:gd name="T3" fmla="*/ 2147483647 h 1512"/>
              <a:gd name="T4" fmla="*/ 2147483647 w 5760"/>
              <a:gd name="T5" fmla="*/ 2147483647 h 1512"/>
              <a:gd name="T6" fmla="*/ 2147483647 w 5760"/>
              <a:gd name="T7" fmla="*/ 2147483647 h 1512"/>
              <a:gd name="T8" fmla="*/ 2147483647 w 5760"/>
              <a:gd name="T9" fmla="*/ 2147483647 h 1512"/>
              <a:gd name="T10" fmla="*/ 2147483647 w 5760"/>
              <a:gd name="T11" fmla="*/ 2147483647 h 1512"/>
              <a:gd name="T12" fmla="*/ 2147483647 w 5760"/>
              <a:gd name="T13" fmla="*/ 0 h 1512"/>
              <a:gd name="T14" fmla="*/ 0 w 5760"/>
              <a:gd name="T15" fmla="*/ 0 h 15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760" h="1512">
                <a:moveTo>
                  <a:pt x="0" y="0"/>
                </a:moveTo>
                <a:lnTo>
                  <a:pt x="0" y="1368"/>
                </a:lnTo>
                <a:lnTo>
                  <a:pt x="1008" y="1368"/>
                </a:lnTo>
                <a:lnTo>
                  <a:pt x="1152" y="1512"/>
                </a:lnTo>
                <a:lnTo>
                  <a:pt x="1296" y="1368"/>
                </a:lnTo>
                <a:lnTo>
                  <a:pt x="5760" y="1368"/>
                </a:lnTo>
                <a:lnTo>
                  <a:pt x="57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200" dirty="0">
              <a:solidFill>
                <a:srgbClr val="1F497D"/>
              </a:solidFill>
            </a:endParaRPr>
          </a:p>
        </p:txBody>
      </p:sp>
      <p:pic>
        <p:nvPicPr>
          <p:cNvPr id="10" name="Picture 10" descr="National_Grid_logo_blu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6" y="342900"/>
            <a:ext cx="1830388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982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93730" y="1328820"/>
            <a:ext cx="8043863" cy="54117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noAutofit/>
          </a:bodyPr>
          <a:lstStyle>
            <a:lvl1pPr>
              <a:defRPr sz="28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589828" name="Rectangle 4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571505" y="5164147"/>
            <a:ext cx="8043863" cy="35650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ecember 16, 2016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206285" y="1"/>
            <a:ext cx="195359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eaLnBrk="0" fontAlgn="base" hangingPunct="0">
              <a:spcBef>
                <a:spcPts val="60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sz="1000" b="1" dirty="0">
                <a:solidFill>
                  <a:srgbClr val="C74C25"/>
                </a:solidFill>
              </a:rPr>
              <a:t>DRAFT -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45190782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vider Slide">
    <p:bg>
      <p:bgPr>
        <a:solidFill>
          <a:srgbClr val="007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/>
        </p:nvSpPr>
        <p:spPr bwMode="auto">
          <a:xfrm>
            <a:off x="3" y="0"/>
            <a:ext cx="9159875" cy="2400300"/>
          </a:xfrm>
          <a:custGeom>
            <a:avLst/>
            <a:gdLst>
              <a:gd name="T0" fmla="*/ 0 w 5760"/>
              <a:gd name="T1" fmla="*/ 0 h 1512"/>
              <a:gd name="T2" fmla="*/ 0 w 5760"/>
              <a:gd name="T3" fmla="*/ 2147483647 h 1512"/>
              <a:gd name="T4" fmla="*/ 2147483647 w 5760"/>
              <a:gd name="T5" fmla="*/ 2147483647 h 1512"/>
              <a:gd name="T6" fmla="*/ 2147483647 w 5760"/>
              <a:gd name="T7" fmla="*/ 2147483647 h 1512"/>
              <a:gd name="T8" fmla="*/ 2147483647 w 5760"/>
              <a:gd name="T9" fmla="*/ 2147483647 h 1512"/>
              <a:gd name="T10" fmla="*/ 2147483647 w 5760"/>
              <a:gd name="T11" fmla="*/ 2147483647 h 1512"/>
              <a:gd name="T12" fmla="*/ 2147483647 w 5760"/>
              <a:gd name="T13" fmla="*/ 0 h 1512"/>
              <a:gd name="T14" fmla="*/ 0 w 5760"/>
              <a:gd name="T15" fmla="*/ 0 h 15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760" h="1512">
                <a:moveTo>
                  <a:pt x="0" y="0"/>
                </a:moveTo>
                <a:lnTo>
                  <a:pt x="0" y="1368"/>
                </a:lnTo>
                <a:lnTo>
                  <a:pt x="1008" y="1368"/>
                </a:lnTo>
                <a:lnTo>
                  <a:pt x="1152" y="1512"/>
                </a:lnTo>
                <a:lnTo>
                  <a:pt x="1296" y="1368"/>
                </a:lnTo>
                <a:lnTo>
                  <a:pt x="5760" y="1368"/>
                </a:lnTo>
                <a:lnTo>
                  <a:pt x="57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200" dirty="0">
              <a:solidFill>
                <a:srgbClr val="1F497D"/>
              </a:solidFill>
            </a:endParaRPr>
          </a:p>
        </p:txBody>
      </p:sp>
      <p:pic>
        <p:nvPicPr>
          <p:cNvPr id="10" name="Picture 10" descr="National_Grid_logo_blu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6" y="342900"/>
            <a:ext cx="1830388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982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93730" y="1374988"/>
            <a:ext cx="8043863" cy="44884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noAutofit/>
          </a:bodyPr>
          <a:lstStyle>
            <a:lvl1pPr>
              <a:defRPr sz="2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58982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5" y="5164147"/>
            <a:ext cx="8043863" cy="294953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197206" y="1"/>
            <a:ext cx="196267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eaLnBrk="0" fontAlgn="base" hangingPunct="0">
              <a:spcBef>
                <a:spcPts val="60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sz="1000" b="1" dirty="0">
                <a:solidFill>
                  <a:srgbClr val="C74C25"/>
                </a:solidFill>
              </a:rPr>
              <a:t>DRAFT -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267885084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30" y="893827"/>
            <a:ext cx="8093075" cy="38880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3725" y="1485900"/>
            <a:ext cx="8089900" cy="464820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0"/>
              </a:spcAft>
              <a:buFontTx/>
              <a:buNone/>
              <a:defRPr b="1">
                <a:solidFill>
                  <a:srgbClr val="0079C1"/>
                </a:solidFill>
              </a:defRPr>
            </a:lvl1pPr>
            <a:lvl2pPr marL="227017" indent="-215904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n"/>
              <a:defRPr/>
            </a:lvl2pPr>
            <a:lvl3pPr marL="460384" indent="-215904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―"/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xfrm>
            <a:off x="593725" y="6245225"/>
            <a:ext cx="21336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xfrm>
            <a:off x="3192467" y="6245225"/>
            <a:ext cx="28956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0025" y="6245225"/>
            <a:ext cx="21336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07AF93-6730-4552-9664-20D6715AD06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50025" y="231230"/>
            <a:ext cx="2236623" cy="64189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dirty="0">
              <a:ln>
                <a:solidFill>
                  <a:srgbClr val="FFFFFF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9" name="Picture 9" descr="National_Grid_logo_blu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6" y="342900"/>
            <a:ext cx="1830388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108091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30" y="893827"/>
            <a:ext cx="8093075" cy="38728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0025" y="6245225"/>
            <a:ext cx="21336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0D6919-352B-4DA6-85B5-E791ABD235F4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62564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Images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2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0"/>
          <p:cNvSpPr>
            <a:spLocks noChangeArrowheads="1"/>
          </p:cNvSpPr>
          <p:nvPr userDrawn="1"/>
        </p:nvSpPr>
        <p:spPr bwMode="auto">
          <a:xfrm>
            <a:off x="6934200" y="6019800"/>
            <a:ext cx="1828800" cy="809625"/>
          </a:xfrm>
          <a:prstGeom prst="rect">
            <a:avLst/>
          </a:prstGeom>
          <a:solidFill>
            <a:srgbClr val="0079C1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914400">
              <a:defRPr/>
            </a:pPr>
            <a:endParaRPr lang="en-US" altLang="en-US" sz="2800" b="1" dirty="0">
              <a:solidFill>
                <a:srgbClr val="0079C1"/>
              </a:solidFill>
              <a:cs typeface="+mn-cs"/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93729" y="1337797"/>
            <a:ext cx="8043863" cy="52322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9" y="4851162"/>
            <a:ext cx="8043863" cy="503238"/>
          </a:xfrm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698500" y="2971800"/>
            <a:ext cx="2171700" cy="1714500"/>
          </a:xfrm>
        </p:spPr>
        <p:txBody>
          <a:bodyPr/>
          <a:lstStyle>
            <a:lvl1pPr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3092450" y="2971800"/>
            <a:ext cx="2171700" cy="1714500"/>
          </a:xfrm>
        </p:spPr>
        <p:txBody>
          <a:bodyPr/>
          <a:lstStyle>
            <a:lvl1pPr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5486400" y="2971800"/>
            <a:ext cx="2171700" cy="1714500"/>
          </a:xfrm>
        </p:spPr>
        <p:txBody>
          <a:bodyPr/>
          <a:lstStyle>
            <a:lvl1pPr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3"/>
          </p:nvPr>
        </p:nvSpPr>
        <p:spPr/>
        <p:txBody>
          <a:bodyPr/>
          <a:lstStyle>
            <a:lvl1pPr defTabSz="457200">
              <a:defRPr b="1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>
              <a:defRPr/>
            </a:pPr>
            <a:fld id="{DFF3C997-DE9D-438C-B129-EABA08BE9C8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963" y="132221"/>
            <a:ext cx="1828800" cy="58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1742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CA2D3E5-D06B-4BA3-BDE1-6E9B84378837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FE9DCA5-A0F4-45E7-85E1-7711291A75D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53810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748800" y="1330126"/>
            <a:ext cx="7646400" cy="45468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0025" y="6245225"/>
            <a:ext cx="21336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07AF93-6730-4552-9664-20D6715AD06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97456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 16pt Fo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/>
          </p:nvPr>
        </p:nvSpPr>
        <p:spPr bwMode="gray">
          <a:xfrm>
            <a:off x="214313" y="152400"/>
            <a:ext cx="8678167" cy="576064"/>
          </a:xfrm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202432" y="1124745"/>
            <a:ext cx="8636768" cy="4968552"/>
          </a:xfrm>
          <a:noFill/>
        </p:spPr>
        <p:txBody>
          <a:bodyPr/>
          <a:lstStyle>
            <a:lvl3pPr marL="234950" indent="-234950">
              <a:defRPr/>
            </a:lvl3pPr>
            <a:lvl4pPr marL="457200" indent="-222250">
              <a:defRPr/>
            </a:lvl4pPr>
            <a:lvl5pPr marL="692150" indent="-23495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0025" y="6245225"/>
            <a:ext cx="21336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07AF93-6730-4552-9664-20D6715AD06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889341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3381" y="1255713"/>
            <a:ext cx="8347472" cy="91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139200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hangingPunct="1">
              <a:defRPr/>
            </a:pP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>
              <a:defRPr/>
            </a:pPr>
            <a:fld id="{83843541-AF64-483A-9E4C-5936A147450A}" type="slidenum">
              <a:rPr lang="en-GB" smtClean="0"/>
              <a:pPr eaLnBrk="1" hangingPunct="1"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458281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270" y="455416"/>
            <a:ext cx="8189309" cy="5184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bk object 16"/>
          <p:cNvSpPr/>
          <p:nvPr userDrawn="1"/>
        </p:nvSpPr>
        <p:spPr>
          <a:xfrm>
            <a:off x="288219" y="3447"/>
            <a:ext cx="134640" cy="1097746"/>
          </a:xfrm>
          <a:custGeom>
            <a:avLst/>
            <a:gdLst/>
            <a:ahLst/>
            <a:cxnLst/>
            <a:rect l="l" t="t" r="r" b="b"/>
            <a:pathLst>
              <a:path w="382905" h="2692400">
                <a:moveTo>
                  <a:pt x="0" y="2692162"/>
                </a:moveTo>
                <a:lnTo>
                  <a:pt x="382841" y="2692162"/>
                </a:lnTo>
                <a:lnTo>
                  <a:pt x="382841" y="0"/>
                </a:lnTo>
                <a:lnTo>
                  <a:pt x="0" y="0"/>
                </a:lnTo>
                <a:lnTo>
                  <a:pt x="0" y="2692162"/>
                </a:lnTo>
                <a:close/>
              </a:path>
            </a:pathLst>
          </a:custGeom>
          <a:solidFill>
            <a:srgbClr val="483698"/>
          </a:solidFill>
        </p:spPr>
        <p:txBody>
          <a:bodyPr wrap="square" lIns="0" tIns="0" rIns="0" bIns="0" rtlCol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sz="1030" dirty="0">
              <a:solidFill>
                <a:srgbClr val="0079C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21725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sz="2954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983040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323529" y="116632"/>
            <a:ext cx="8496944" cy="7920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915742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323529" y="116632"/>
            <a:ext cx="8496944" cy="7920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323528" y="1268760"/>
            <a:ext cx="4176465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4644009" y="1268760"/>
            <a:ext cx="4176464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453524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007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/>
        </p:nvSpPr>
        <p:spPr bwMode="auto">
          <a:xfrm>
            <a:off x="4" y="0"/>
            <a:ext cx="9159875" cy="2400300"/>
          </a:xfrm>
          <a:custGeom>
            <a:avLst/>
            <a:gdLst>
              <a:gd name="T0" fmla="*/ 0 w 5760"/>
              <a:gd name="T1" fmla="*/ 0 h 1512"/>
              <a:gd name="T2" fmla="*/ 0 w 5760"/>
              <a:gd name="T3" fmla="*/ 2147483647 h 1512"/>
              <a:gd name="T4" fmla="*/ 2147483647 w 5760"/>
              <a:gd name="T5" fmla="*/ 2147483647 h 1512"/>
              <a:gd name="T6" fmla="*/ 2147483647 w 5760"/>
              <a:gd name="T7" fmla="*/ 2147483647 h 1512"/>
              <a:gd name="T8" fmla="*/ 2147483647 w 5760"/>
              <a:gd name="T9" fmla="*/ 2147483647 h 1512"/>
              <a:gd name="T10" fmla="*/ 2147483647 w 5760"/>
              <a:gd name="T11" fmla="*/ 2147483647 h 1512"/>
              <a:gd name="T12" fmla="*/ 2147483647 w 5760"/>
              <a:gd name="T13" fmla="*/ 0 h 1512"/>
              <a:gd name="T14" fmla="*/ 0 w 5760"/>
              <a:gd name="T15" fmla="*/ 0 h 15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760" h="1512">
                <a:moveTo>
                  <a:pt x="0" y="0"/>
                </a:moveTo>
                <a:lnTo>
                  <a:pt x="0" y="1368"/>
                </a:lnTo>
                <a:lnTo>
                  <a:pt x="1008" y="1368"/>
                </a:lnTo>
                <a:lnTo>
                  <a:pt x="1152" y="1512"/>
                </a:lnTo>
                <a:lnTo>
                  <a:pt x="1296" y="1368"/>
                </a:lnTo>
                <a:lnTo>
                  <a:pt x="5760" y="1368"/>
                </a:lnTo>
                <a:lnTo>
                  <a:pt x="57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200" dirty="0">
              <a:solidFill>
                <a:srgbClr val="1F497D"/>
              </a:solidFill>
            </a:endParaRPr>
          </a:p>
        </p:txBody>
      </p:sp>
      <p:pic>
        <p:nvPicPr>
          <p:cNvPr id="10" name="Picture 10" descr="National_Grid_logo_blu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6" y="342900"/>
            <a:ext cx="1830388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982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93731" y="1328820"/>
            <a:ext cx="8043863" cy="54117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noAutofit/>
          </a:bodyPr>
          <a:lstStyle>
            <a:lvl1pPr>
              <a:defRPr sz="28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589828" name="Rectangle 4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571506" y="5164147"/>
            <a:ext cx="8043863" cy="35650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ecember 16, 2016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206285" y="2"/>
            <a:ext cx="195359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eaLnBrk="0" fontAlgn="base" hangingPunct="0">
              <a:spcBef>
                <a:spcPts val="60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sz="1000" b="1" dirty="0">
                <a:solidFill>
                  <a:srgbClr val="C74C25"/>
                </a:solidFill>
              </a:rPr>
              <a:t>DRAFT -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237241057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vider Slide">
    <p:bg>
      <p:bgPr>
        <a:solidFill>
          <a:srgbClr val="007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/>
        </p:nvSpPr>
        <p:spPr bwMode="auto">
          <a:xfrm>
            <a:off x="4" y="0"/>
            <a:ext cx="9159875" cy="2400300"/>
          </a:xfrm>
          <a:custGeom>
            <a:avLst/>
            <a:gdLst>
              <a:gd name="T0" fmla="*/ 0 w 5760"/>
              <a:gd name="T1" fmla="*/ 0 h 1512"/>
              <a:gd name="T2" fmla="*/ 0 w 5760"/>
              <a:gd name="T3" fmla="*/ 2147483647 h 1512"/>
              <a:gd name="T4" fmla="*/ 2147483647 w 5760"/>
              <a:gd name="T5" fmla="*/ 2147483647 h 1512"/>
              <a:gd name="T6" fmla="*/ 2147483647 w 5760"/>
              <a:gd name="T7" fmla="*/ 2147483647 h 1512"/>
              <a:gd name="T8" fmla="*/ 2147483647 w 5760"/>
              <a:gd name="T9" fmla="*/ 2147483647 h 1512"/>
              <a:gd name="T10" fmla="*/ 2147483647 w 5760"/>
              <a:gd name="T11" fmla="*/ 2147483647 h 1512"/>
              <a:gd name="T12" fmla="*/ 2147483647 w 5760"/>
              <a:gd name="T13" fmla="*/ 0 h 1512"/>
              <a:gd name="T14" fmla="*/ 0 w 5760"/>
              <a:gd name="T15" fmla="*/ 0 h 15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760" h="1512">
                <a:moveTo>
                  <a:pt x="0" y="0"/>
                </a:moveTo>
                <a:lnTo>
                  <a:pt x="0" y="1368"/>
                </a:lnTo>
                <a:lnTo>
                  <a:pt x="1008" y="1368"/>
                </a:lnTo>
                <a:lnTo>
                  <a:pt x="1152" y="1512"/>
                </a:lnTo>
                <a:lnTo>
                  <a:pt x="1296" y="1368"/>
                </a:lnTo>
                <a:lnTo>
                  <a:pt x="5760" y="1368"/>
                </a:lnTo>
                <a:lnTo>
                  <a:pt x="57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200" dirty="0">
              <a:solidFill>
                <a:srgbClr val="1F497D"/>
              </a:solidFill>
            </a:endParaRPr>
          </a:p>
        </p:txBody>
      </p:sp>
      <p:pic>
        <p:nvPicPr>
          <p:cNvPr id="10" name="Picture 10" descr="National_Grid_logo_blu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6" y="342900"/>
            <a:ext cx="1830388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982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93731" y="1374990"/>
            <a:ext cx="8043863" cy="44884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noAutofit/>
          </a:bodyPr>
          <a:lstStyle>
            <a:lvl1pPr>
              <a:defRPr sz="2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58982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6" y="5164149"/>
            <a:ext cx="8043863" cy="294953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197206" y="2"/>
            <a:ext cx="196267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eaLnBrk="0" fontAlgn="base" hangingPunct="0">
              <a:spcBef>
                <a:spcPts val="60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sz="1000" b="1" dirty="0">
                <a:solidFill>
                  <a:srgbClr val="C74C25"/>
                </a:solidFill>
              </a:rPr>
              <a:t>DRAFT -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40668188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D0852DF-6262-4A51-BC40-76825443DBEB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A30F164-743B-4064-877C-2C3A12887FC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15565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31" y="893827"/>
            <a:ext cx="8093075" cy="38880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3725" y="1485900"/>
            <a:ext cx="8089900" cy="464820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0"/>
              </a:spcAft>
              <a:buFontTx/>
              <a:buNone/>
              <a:defRPr b="1">
                <a:solidFill>
                  <a:srgbClr val="0079C1"/>
                </a:solidFill>
              </a:defRPr>
            </a:lvl1pPr>
            <a:lvl2pPr marL="227017" indent="-215904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n"/>
              <a:defRPr/>
            </a:lvl2pPr>
            <a:lvl3pPr marL="460384" indent="-215904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―"/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xfrm>
            <a:off x="593725" y="6245225"/>
            <a:ext cx="21336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xfrm>
            <a:off x="3192467" y="6245225"/>
            <a:ext cx="28956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0025" y="6245225"/>
            <a:ext cx="21336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07AF93-6730-4552-9664-20D6715AD06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50025" y="231232"/>
            <a:ext cx="2236623" cy="64189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dirty="0">
              <a:ln>
                <a:solidFill>
                  <a:srgbClr val="FFFFFF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9" name="Picture 9" descr="National_Grid_logo_blu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6" y="342900"/>
            <a:ext cx="1830388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204114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31" y="893827"/>
            <a:ext cx="8093075" cy="38728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0025" y="6245225"/>
            <a:ext cx="21336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0D6919-352B-4DA6-85B5-E791ABD235F4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929173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52400" y="183543"/>
            <a:ext cx="76392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noProof="0" dirty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84966561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227993"/>
            <a:ext cx="8284464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noProof="0" dirty="0"/>
              <a:t>Super title he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6550025" y="6245225"/>
            <a:ext cx="21336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07AF93-6730-4552-9664-20D6715AD06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642561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 16pt Fo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/>
          </p:nvPr>
        </p:nvSpPr>
        <p:spPr bwMode="gray">
          <a:xfrm>
            <a:off x="214314" y="152400"/>
            <a:ext cx="8678167" cy="576064"/>
          </a:xfrm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202432" y="1124745"/>
            <a:ext cx="8636768" cy="4968552"/>
          </a:xfrm>
          <a:noFill/>
        </p:spPr>
        <p:txBody>
          <a:bodyPr/>
          <a:lstStyle>
            <a:lvl3pPr marL="234950" indent="-234950">
              <a:defRPr/>
            </a:lvl3pPr>
            <a:lvl4pPr marL="457200" indent="-222250">
              <a:defRPr/>
            </a:lvl4pPr>
            <a:lvl5pPr marL="692150" indent="-23495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0025" y="6245225"/>
            <a:ext cx="21336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07AF93-6730-4552-9664-20D6715AD06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625676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3381" y="1255713"/>
            <a:ext cx="8347472" cy="91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069847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hangingPunct="1">
              <a:defRPr/>
            </a:pP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hangingPunct="1">
              <a:defRPr/>
            </a:pPr>
            <a:fld id="{83843541-AF64-483A-9E4C-5936A147450A}" type="slidenum">
              <a:rPr lang="en-GB" smtClean="0"/>
              <a:pPr eaLnBrk="1" hangingPunct="1"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204451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271" y="455416"/>
            <a:ext cx="8189309" cy="5184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bk object 16"/>
          <p:cNvSpPr/>
          <p:nvPr userDrawn="1"/>
        </p:nvSpPr>
        <p:spPr>
          <a:xfrm>
            <a:off x="288219" y="3447"/>
            <a:ext cx="134640" cy="1097746"/>
          </a:xfrm>
          <a:custGeom>
            <a:avLst/>
            <a:gdLst/>
            <a:ahLst/>
            <a:cxnLst/>
            <a:rect l="l" t="t" r="r" b="b"/>
            <a:pathLst>
              <a:path w="382905" h="2692400">
                <a:moveTo>
                  <a:pt x="0" y="2692162"/>
                </a:moveTo>
                <a:lnTo>
                  <a:pt x="382841" y="2692162"/>
                </a:lnTo>
                <a:lnTo>
                  <a:pt x="382841" y="0"/>
                </a:lnTo>
                <a:lnTo>
                  <a:pt x="0" y="0"/>
                </a:lnTo>
                <a:lnTo>
                  <a:pt x="0" y="2692162"/>
                </a:lnTo>
                <a:close/>
              </a:path>
            </a:pathLst>
          </a:custGeom>
          <a:solidFill>
            <a:srgbClr val="483698"/>
          </a:solidFill>
        </p:spPr>
        <p:txBody>
          <a:bodyPr wrap="square" lIns="0" tIns="0" rIns="0" bIns="0" rtlCol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sz="1030" dirty="0">
              <a:solidFill>
                <a:srgbClr val="0079C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59473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sz="2954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21960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7EBA5C-B7EE-4370-950E-DBE7A6CD8A7F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3EAE238E-C301-4D9A-B27F-F78D5A2B4BD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09548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EC5F258-FC42-4CB6-9967-109AD81C3BFD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7089955-1E42-4D47-A6B1-3A92AAD4DDC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0788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8A15721-F3B1-40F0-8256-E0CE89C91AF1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78050B4-5ACC-49C0-84E8-0F8C1FC287B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04395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4325" y="762000"/>
            <a:ext cx="2022475" cy="5372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93725" y="762000"/>
            <a:ext cx="5918200" cy="5372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BF19EB9-F8DB-4D94-B138-13CD05926FB1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CE358DA-B4B7-46AA-AF44-F55CBDF21DD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00812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007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/>
        </p:nvSpPr>
        <p:spPr bwMode="auto">
          <a:xfrm>
            <a:off x="0" y="0"/>
            <a:ext cx="9159875" cy="2400300"/>
          </a:xfrm>
          <a:custGeom>
            <a:avLst/>
            <a:gdLst>
              <a:gd name="T0" fmla="*/ 0 w 5760"/>
              <a:gd name="T1" fmla="*/ 0 h 1512"/>
              <a:gd name="T2" fmla="*/ 0 w 5760"/>
              <a:gd name="T3" fmla="*/ 2147483647 h 1512"/>
              <a:gd name="T4" fmla="*/ 2147483647 w 5760"/>
              <a:gd name="T5" fmla="*/ 2147483647 h 1512"/>
              <a:gd name="T6" fmla="*/ 2147483647 w 5760"/>
              <a:gd name="T7" fmla="*/ 2147483647 h 1512"/>
              <a:gd name="T8" fmla="*/ 2147483647 w 5760"/>
              <a:gd name="T9" fmla="*/ 2147483647 h 1512"/>
              <a:gd name="T10" fmla="*/ 2147483647 w 5760"/>
              <a:gd name="T11" fmla="*/ 2147483647 h 1512"/>
              <a:gd name="T12" fmla="*/ 2147483647 w 5760"/>
              <a:gd name="T13" fmla="*/ 0 h 1512"/>
              <a:gd name="T14" fmla="*/ 0 w 5760"/>
              <a:gd name="T15" fmla="*/ 0 h 15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760" h="1512">
                <a:moveTo>
                  <a:pt x="0" y="0"/>
                </a:moveTo>
                <a:lnTo>
                  <a:pt x="0" y="1368"/>
                </a:lnTo>
                <a:lnTo>
                  <a:pt x="1008" y="1368"/>
                </a:lnTo>
                <a:lnTo>
                  <a:pt x="1152" y="1512"/>
                </a:lnTo>
                <a:lnTo>
                  <a:pt x="1296" y="1368"/>
                </a:lnTo>
                <a:lnTo>
                  <a:pt x="5760" y="1368"/>
                </a:lnTo>
                <a:lnTo>
                  <a:pt x="57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pic>
        <p:nvPicPr>
          <p:cNvPr id="5" name="Picture 7" descr="National_Grid_logo_blu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342900"/>
            <a:ext cx="1830388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137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279525"/>
            <a:ext cx="8043863" cy="639763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138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0" y="2882900"/>
            <a:ext cx="8043863" cy="503238"/>
          </a:xfrm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43775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4F5253-5BF0-4E42-BDFE-6FA9C91B2D55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C507DD-A2D4-4BBA-985A-1008333316C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3235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34753C-FA52-42CC-B374-2D1E400A61D3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5B87E5-7933-4BEC-AADB-DFDA6070B7C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5068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6708775" y="4763"/>
            <a:ext cx="1620838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dirty="0">
                <a:solidFill>
                  <a:srgbClr val="FF0000"/>
                </a:solidFill>
              </a:rPr>
              <a:t>Draft Vers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EBF800-BF16-40A0-B80F-BCE7D8F071FA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436B20-0E06-4387-8ADB-EC0EC13FA8A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59446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ingle Large Image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4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6934200" y="6019800"/>
            <a:ext cx="1828800" cy="809625"/>
          </a:xfrm>
          <a:prstGeom prst="rect">
            <a:avLst/>
          </a:prstGeom>
          <a:solidFill>
            <a:srgbClr val="0079C1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914400">
              <a:defRPr/>
            </a:pPr>
            <a:endParaRPr lang="en-US" altLang="en-US" sz="2800" b="1" dirty="0">
              <a:solidFill>
                <a:srgbClr val="0079C1"/>
              </a:solidFill>
              <a:cs typeface="+mn-cs"/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93729" y="1337797"/>
            <a:ext cx="8043863" cy="52322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9" y="6172200"/>
            <a:ext cx="8043863" cy="503238"/>
          </a:xfrm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93729" y="2743200"/>
            <a:ext cx="5029200" cy="274320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762000" y="2971800"/>
            <a:ext cx="2438400" cy="1681914"/>
          </a:xfrm>
          <a:solidFill>
            <a:srgbClr val="65952D"/>
          </a:solidFill>
          <a:ln>
            <a:noFill/>
          </a:ln>
        </p:spPr>
        <p:txBody>
          <a:bodyPr/>
          <a:lstStyle>
            <a:lvl1pPr marL="0" indent="0">
              <a:buNone/>
              <a:defRPr sz="18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 b="1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>
              <a:defRPr/>
            </a:pPr>
            <a:fld id="{A56CD98D-0CA3-4591-8AD2-8A1472465F53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963" y="132221"/>
            <a:ext cx="1828800" cy="58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8034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592138" y="188913"/>
            <a:ext cx="25400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dirty="0">
                <a:solidFill>
                  <a:srgbClr val="FF0000"/>
                </a:solidFill>
              </a:rPr>
              <a:t>Draft – To be update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1B77E6-D099-4B9B-8DB5-ACF52411CC92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847179-D1FB-41EF-84D4-78EC597861E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7884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ABE56C-DE36-4863-BD07-35997FF54F5A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120D31-BFD3-4A52-A8A2-BA190DBF8B4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66683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D66F15-24B3-4F06-B5DA-9DCF01E5AA28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E80182-FF95-4991-AC47-AD6734FD8BD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556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0B64DF-EB9B-4588-A685-3B52A7C11C63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53CEF2-7671-42C5-B6D1-61D0324693A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8310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F37AB8-C2AD-4377-96B9-9681BFEE5B1E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1691DA-D6B6-462D-BCF9-47D8BFDFA3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63062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4DAB5C-E044-4236-94C3-15417E7B62CD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586861-F364-410A-86AB-0F9AA92EF3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1535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4325" y="762000"/>
            <a:ext cx="2022475" cy="5372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93725" y="762000"/>
            <a:ext cx="5918200" cy="5372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50388A-8192-4D50-AAA1-560BCEC9F31C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070744-4AF6-40C9-B935-97F86779B6C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7645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5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0"/>
          <p:cNvSpPr>
            <a:spLocks noChangeArrowheads="1"/>
          </p:cNvSpPr>
          <p:nvPr userDrawn="1"/>
        </p:nvSpPr>
        <p:spPr bwMode="auto">
          <a:xfrm>
            <a:off x="6934200" y="6019800"/>
            <a:ext cx="1828800" cy="809625"/>
          </a:xfrm>
          <a:prstGeom prst="rect">
            <a:avLst/>
          </a:prstGeom>
          <a:solidFill>
            <a:srgbClr val="0079C1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en-US" altLang="en-US" sz="2800" b="1" dirty="0">
              <a:solidFill>
                <a:srgbClr val="0079C1"/>
              </a:solidFill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93729" y="1337797"/>
            <a:ext cx="8043863" cy="52322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9" y="2882900"/>
            <a:ext cx="8043863" cy="503238"/>
          </a:xfrm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 b="1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>
              <a:defRPr/>
            </a:pPr>
            <a:fld id="{156C06C7-40B3-43AE-A39E-48570C720C07}" type="slidenum">
              <a:rPr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963" y="132221"/>
            <a:ext cx="1828800" cy="58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9036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Images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8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0"/>
          <p:cNvSpPr>
            <a:spLocks noChangeArrowheads="1"/>
          </p:cNvSpPr>
          <p:nvPr userDrawn="1"/>
        </p:nvSpPr>
        <p:spPr bwMode="auto">
          <a:xfrm>
            <a:off x="6934200" y="6019800"/>
            <a:ext cx="1828800" cy="809625"/>
          </a:xfrm>
          <a:prstGeom prst="rect">
            <a:avLst/>
          </a:prstGeom>
          <a:solidFill>
            <a:srgbClr val="0079C1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en-US" altLang="en-US" sz="2800" b="1" dirty="0">
              <a:solidFill>
                <a:srgbClr val="0079C1"/>
              </a:solidFill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93729" y="1337797"/>
            <a:ext cx="8043863" cy="52322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9" y="4851162"/>
            <a:ext cx="8043863" cy="503238"/>
          </a:xfrm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698500" y="2971800"/>
            <a:ext cx="2171700" cy="1714500"/>
          </a:xfrm>
        </p:spPr>
        <p:txBody>
          <a:bodyPr/>
          <a:lstStyle>
            <a:lvl1pPr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3092450" y="2971800"/>
            <a:ext cx="2171700" cy="1714500"/>
          </a:xfrm>
        </p:spPr>
        <p:txBody>
          <a:bodyPr/>
          <a:lstStyle>
            <a:lvl1pPr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5486400" y="2971800"/>
            <a:ext cx="2171700" cy="1714500"/>
          </a:xfrm>
        </p:spPr>
        <p:txBody>
          <a:bodyPr/>
          <a:lstStyle>
            <a:lvl1pPr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3"/>
          </p:nvPr>
        </p:nvSpPr>
        <p:spPr/>
        <p:txBody>
          <a:bodyPr/>
          <a:lstStyle>
            <a:lvl1pPr defTabSz="457200">
              <a:defRPr b="1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>
              <a:defRPr/>
            </a:pPr>
            <a:fld id="{DFF3C997-DE9D-438C-B129-EABA08BE9C8F}" type="slidenum">
              <a:rPr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FFFFFF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963" y="132221"/>
            <a:ext cx="1828800" cy="58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9443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ingle Large Image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70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6934200" y="6019800"/>
            <a:ext cx="1828800" cy="809625"/>
          </a:xfrm>
          <a:prstGeom prst="rect">
            <a:avLst/>
          </a:prstGeom>
          <a:solidFill>
            <a:srgbClr val="0079C1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en-US" altLang="en-US" sz="2800" b="1" dirty="0">
              <a:solidFill>
                <a:srgbClr val="0079C1"/>
              </a:solidFill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93729" y="1337797"/>
            <a:ext cx="8043863" cy="52322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9" y="6172200"/>
            <a:ext cx="8043863" cy="503238"/>
          </a:xfrm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93729" y="2743200"/>
            <a:ext cx="5029200" cy="274320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762000" y="2971800"/>
            <a:ext cx="2438400" cy="1681914"/>
          </a:xfrm>
          <a:solidFill>
            <a:srgbClr val="65952D"/>
          </a:solidFill>
          <a:ln>
            <a:noFill/>
          </a:ln>
        </p:spPr>
        <p:txBody>
          <a:bodyPr/>
          <a:lstStyle>
            <a:lvl1pPr marL="0" indent="0">
              <a:buNone/>
              <a:defRPr sz="18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 b="1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>
              <a:defRPr/>
            </a:pPr>
            <a:fld id="{A56CD98D-0CA3-4591-8AD2-8A1472465F53}" type="slidenum">
              <a:rPr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FFFFFF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963" y="132221"/>
            <a:ext cx="1828800" cy="58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3096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881003"/>
            <a:ext cx="809307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>
              <a:defRPr sz="2000"/>
            </a:lvl1pPr>
          </a:lstStyle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593725" y="1485900"/>
            <a:ext cx="80899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46424" y="6556835"/>
            <a:ext cx="795528" cy="256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algn="r" defTabSz="914400" rtl="0" eaLnBrk="1" latinLnBrk="0" hangingPunct="1">
              <a:defRPr lang="en-US" altLang="en-US" sz="1200" kern="1200" smtClean="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1pPr>
          </a:lstStyle>
          <a:p>
            <a:fld id="{1C41F466-472F-46E0-91C2-C775F7BD386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889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881003"/>
            <a:ext cx="809307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>
              <a:defRPr sz="2000"/>
            </a:lvl1pPr>
          </a:lstStyle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593725" y="1485900"/>
            <a:ext cx="80899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46424" y="6556835"/>
            <a:ext cx="795528" cy="256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algn="r" defTabSz="914400" rtl="0" eaLnBrk="1" latinLnBrk="0" hangingPunct="1">
              <a:defRPr lang="en-US" altLang="en-US" sz="1200" kern="1200" smtClean="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1pPr>
          </a:lstStyle>
          <a:p>
            <a:fld id="{1C41F466-472F-46E0-91C2-C775F7BD3860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15172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46424" y="6556835"/>
            <a:ext cx="795528" cy="256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algn="r" defTabSz="914400" rtl="0" eaLnBrk="1" latinLnBrk="0" hangingPunct="1">
              <a:defRPr lang="en-US" altLang="en-US" sz="1200" kern="1200" smtClean="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1pPr>
          </a:lstStyle>
          <a:p>
            <a:fld id="{1C41F466-472F-46E0-91C2-C775F7BD3860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0165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5" y="881003"/>
            <a:ext cx="8093075" cy="40011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ADB40B-38A9-4FFD-89E6-C87D0B6B7392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C507DD-A2D4-4BBA-985A-1008333316C3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225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0800" y="1810800"/>
            <a:ext cx="8388000" cy="453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617174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-3175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11" descr="117008864rev_retouched.jpg"/>
          <p:cNvPicPr>
            <a:picLocks noChangeAspect="1"/>
          </p:cNvPicPr>
          <p:nvPr/>
        </p:nvPicPr>
        <p:blipFill>
          <a:blip r:embed="rId2">
            <a:alphaModFix amt="2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175"/>
            <a:ext cx="9144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25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/>
        </p:nvCxnSpPr>
        <p:spPr>
          <a:xfrm flipV="1">
            <a:off x="2043113" y="1300257"/>
            <a:ext cx="0" cy="4573417"/>
          </a:xfrm>
          <a:prstGeom prst="line">
            <a:avLst/>
          </a:prstGeom>
          <a:ln>
            <a:solidFill>
              <a:srgbClr val="0079C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155396" y="2092232"/>
            <a:ext cx="5434442" cy="3552825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0"/>
              </a:spcBef>
              <a:buClr>
                <a:srgbClr val="0079C1"/>
              </a:buClr>
              <a:buFont typeface="+mj-lt"/>
              <a:buAutoNum type="romanUcPeriod"/>
              <a:tabLst>
                <a:tab pos="6400800" algn="l"/>
              </a:tabLst>
              <a:defRPr sz="1600" b="0">
                <a:solidFill>
                  <a:schemeClr val="tx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0"/>
              </a:spcBef>
              <a:buClr>
                <a:srgbClr val="0079C1"/>
              </a:buClr>
              <a:buFont typeface="Arial" pitchFamily="34" charset="0"/>
              <a:buChar char="●"/>
              <a:tabLst>
                <a:tab pos="6400800" algn="l"/>
              </a:tabLst>
              <a:defRPr sz="1400" b="0" baseline="0">
                <a:solidFill>
                  <a:schemeClr val="tx1"/>
                </a:solidFill>
              </a:defRPr>
            </a:lvl2pPr>
            <a:lvl3pPr marL="822960" indent="-274320" defTabSz="914400">
              <a:lnSpc>
                <a:spcPct val="100000"/>
              </a:lnSpc>
              <a:spcBef>
                <a:spcPts val="0"/>
              </a:spcBef>
              <a:buClr>
                <a:srgbClr val="0079C1"/>
              </a:buClr>
              <a:buSzPct val="100000"/>
              <a:buFont typeface="+mj-lt"/>
              <a:buAutoNum type="alphaLcPeriod"/>
              <a:tabLst>
                <a:tab pos="6400800" algn="l"/>
              </a:tabLst>
              <a:defRPr sz="1400" b="0" baseline="0">
                <a:solidFill>
                  <a:schemeClr val="tx1"/>
                </a:solidFill>
              </a:defRPr>
            </a:lvl3pPr>
            <a:lvl4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Font typeface="+mj-lt"/>
              <a:buAutoNum type="alphaLcPeriod"/>
              <a:tabLst>
                <a:tab pos="6400800" algn="l"/>
              </a:tabLst>
              <a:defRPr sz="1600">
                <a:solidFill>
                  <a:srgbClr val="4F8ABE"/>
                </a:solidFill>
              </a:defRPr>
            </a:lvl4pPr>
            <a:lvl5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Font typeface="+mj-lt"/>
              <a:buAutoNum type="alphaLcPeriod"/>
              <a:tabLst>
                <a:tab pos="6400800" algn="l"/>
              </a:tabLst>
              <a:defRPr sz="1600">
                <a:solidFill>
                  <a:srgbClr val="4F8ABE"/>
                </a:solidFill>
              </a:defRPr>
            </a:lvl5pPr>
            <a:lvl6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Font typeface="+mj-lt"/>
              <a:buAutoNum type="alphaLcPeriod"/>
              <a:defRPr sz="1600">
                <a:solidFill>
                  <a:srgbClr val="4F779C"/>
                </a:solidFill>
              </a:defRPr>
            </a:lvl6pPr>
            <a:lvl7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Font typeface="+mj-lt"/>
              <a:buAutoNum type="alphaLcPeriod"/>
              <a:tabLst/>
              <a:defRPr sz="1600">
                <a:solidFill>
                  <a:srgbClr val="4F779C"/>
                </a:solidFill>
              </a:defRPr>
            </a:lvl7pPr>
            <a:lvl8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SzPct val="100000"/>
              <a:buFont typeface="+mj-lt"/>
              <a:buAutoNum type="alphaLcPeriod"/>
              <a:defRPr sz="1600">
                <a:solidFill>
                  <a:srgbClr val="4F779C"/>
                </a:solidFill>
              </a:defRPr>
            </a:lvl8pPr>
            <a:lvl9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SzPct val="100000"/>
              <a:buFont typeface="+mj-lt"/>
              <a:buAutoNum type="alphaLcPeriod"/>
              <a:defRPr sz="1600">
                <a:solidFill>
                  <a:srgbClr val="4F779C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155396" y="1353580"/>
            <a:ext cx="5434442" cy="524193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2400" b="1" baseline="0">
                <a:solidFill>
                  <a:srgbClr val="0079C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7" descr="LOGO_NG_HWHFY_PMS300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6858000" y="368300"/>
            <a:ext cx="1828800" cy="5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Straight Connector 12"/>
          <p:cNvCxnSpPr/>
          <p:nvPr userDrawn="1"/>
        </p:nvCxnSpPr>
        <p:spPr>
          <a:xfrm>
            <a:off x="577054" y="1078789"/>
            <a:ext cx="8067677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5517127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849313"/>
            <a:ext cx="9144000" cy="2217737"/>
          </a:xfrm>
          <a:prstGeom prst="rect">
            <a:avLst/>
          </a:prstGeom>
          <a:solidFill>
            <a:srgbClr val="0079C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Rectangle 41"/>
          <p:cNvSpPr>
            <a:spLocks noGrp="1" noChangeArrowheads="1"/>
          </p:cNvSpPr>
          <p:nvPr>
            <p:ph type="ctrTitle" sz="quarter"/>
          </p:nvPr>
        </p:nvSpPr>
        <p:spPr>
          <a:xfrm>
            <a:off x="566738" y="1510302"/>
            <a:ext cx="5883276" cy="1556723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100000"/>
              </a:lnSpc>
              <a:spcBef>
                <a:spcPts val="0"/>
              </a:spcBef>
              <a:defRPr sz="3600" b="1" cap="none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2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8D4F86-0A65-4848-91C8-135B38B744E1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534150" y="849313"/>
            <a:ext cx="2609851" cy="2293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7" descr="LOGO_NG_HWHFY_PMS300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911975" y="1707356"/>
            <a:ext cx="1828800" cy="5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97119109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81025" y="1203324"/>
            <a:ext cx="8105775" cy="509320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b="1">
                <a:solidFill>
                  <a:srgbClr val="000000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79C1"/>
              </a:buClr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79C1"/>
              </a:buClr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79C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b="1" cap="none" baseline="0">
                <a:solidFill>
                  <a:srgbClr val="0079C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8D4F86-0A65-4848-91C8-135B38B744E1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81025" y="629284"/>
            <a:ext cx="7968615" cy="41997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 baseline="0">
                <a:solidFill>
                  <a:srgbClr val="00355F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9pPr>
          </a:lstStyle>
          <a:p>
            <a:pPr lvl="0"/>
            <a:r>
              <a:rPr lang="en-US" dirty="0"/>
              <a:t>Click to edit 1 or 2 line key message (Arial – Italic – 14pt)</a:t>
            </a:r>
          </a:p>
        </p:txBody>
      </p:sp>
      <p:pic>
        <p:nvPicPr>
          <p:cNvPr id="9" name="Picture 7" descr="LOGO_NG_HWHFY_PMS300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439876" y="246904"/>
            <a:ext cx="1224871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0"/>
          <p:cNvCxnSpPr/>
          <p:nvPr userDrawn="1"/>
        </p:nvCxnSpPr>
        <p:spPr>
          <a:xfrm>
            <a:off x="577054" y="1078789"/>
            <a:ext cx="8067677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169891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n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81025" y="1357314"/>
            <a:ext cx="8105775" cy="493921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b="1">
                <a:solidFill>
                  <a:srgbClr val="000000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9C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8D4F86-0A65-4848-91C8-135B38B744E1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81025" y="545045"/>
            <a:ext cx="7968615" cy="648754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1">
                <a:solidFill>
                  <a:srgbClr val="00355F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1">
                <a:solidFill>
                  <a:srgbClr val="00355F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1">
                <a:solidFill>
                  <a:srgbClr val="00355F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1">
                <a:solidFill>
                  <a:srgbClr val="00355F"/>
                </a:solidFill>
              </a:defRPr>
            </a:lvl9pPr>
          </a:lstStyle>
          <a:p>
            <a:pPr lvl="0"/>
            <a:r>
              <a:rPr lang="en-US" dirty="0"/>
              <a:t>Click to edit 3 line key message (Arial-Italic-14pt)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7054" y="1229314"/>
            <a:ext cx="8067677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638544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81024" y="854074"/>
            <a:ext cx="8105776" cy="544245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b="1">
                <a:solidFill>
                  <a:srgbClr val="000000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9C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7054" y="840689"/>
            <a:ext cx="8067677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773492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Colums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788" y="152570"/>
            <a:ext cx="8101012" cy="3841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79C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581025" y="1202302"/>
            <a:ext cx="3922713" cy="50817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(Arial-Bold-14pt)</a:t>
            </a:r>
          </a:p>
          <a:p>
            <a:pPr lvl="1"/>
            <a:r>
              <a:rPr lang="en-US" dirty="0"/>
              <a:t>Second level (Arial-12pt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4632325" y="1202302"/>
            <a:ext cx="4054475" cy="50817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81025" y="623454"/>
            <a:ext cx="7968615" cy="41997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 baseline="0">
                <a:solidFill>
                  <a:srgbClr val="00355F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9pPr>
          </a:lstStyle>
          <a:p>
            <a:pPr lvl="0"/>
            <a:r>
              <a:rPr lang="en-US" dirty="0"/>
              <a:t>Click to edit 1 or 2 line key message (Arial – Italic – 14pt)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77054" y="1078789"/>
            <a:ext cx="8067677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01849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46424" y="6556835"/>
            <a:ext cx="795528" cy="256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algn="r" defTabSz="914400" rtl="0" eaLnBrk="1" latinLnBrk="0" hangingPunct="1">
              <a:defRPr lang="en-US" altLang="en-US" sz="1200" kern="1200" smtClean="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1pPr>
          </a:lstStyle>
          <a:p>
            <a:fld id="{1C41F466-472F-46E0-91C2-C775F7BD386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8963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dth_subhead lef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7"/>
          <p:cNvSpPr>
            <a:spLocks noChangeShapeType="1"/>
          </p:cNvSpPr>
          <p:nvPr/>
        </p:nvSpPr>
        <p:spPr bwMode="auto">
          <a:xfrm rot="5400000">
            <a:off x="-349184" y="3475038"/>
            <a:ext cx="5581650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2000" tIns="72000" rIns="72000" bIns="7200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ea typeface="ＭＳ Ｐゴシック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581024" y="854075"/>
            <a:ext cx="1761484" cy="5475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527442" y="854075"/>
            <a:ext cx="6159358" cy="5475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47AF767-1F81-F941-ACFA-2A50EC50FE1E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7054" y="840689"/>
            <a:ext cx="8067677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2891449"/>
      </p:ext>
    </p:extLst>
  </p:cSld>
  <p:clrMapOvr>
    <a:masterClrMapping/>
  </p:clrMapOvr>
  <p:transition spd="slow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79438" y="831849"/>
            <a:ext cx="8107362" cy="2600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79438" y="3573463"/>
            <a:ext cx="8107362" cy="27320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049C3C-4B4D-B14D-BC50-A5B3FE37EEF1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7054" y="840689"/>
            <a:ext cx="8067677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82964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inition of Ter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8"/>
          <p:cNvSpPr txBox="1">
            <a:spLocks noChangeArrowheads="1"/>
          </p:cNvSpPr>
          <p:nvPr/>
        </p:nvSpPr>
        <p:spPr bwMode="auto">
          <a:xfrm>
            <a:off x="581026" y="6096000"/>
            <a:ext cx="709295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i="1" dirty="0">
                <a:solidFill>
                  <a:srgbClr val="000000"/>
                </a:solidFill>
              </a:rPr>
              <a:t>Note:  All dollar amounts are presented in thousands except per units data or unless otherwise noted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2"/>
          </p:nvPr>
        </p:nvSpPr>
        <p:spPr>
          <a:xfrm>
            <a:off x="581025" y="854075"/>
            <a:ext cx="8105775" cy="4988941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en-US" noProof="0" dirty="0"/>
              <a:t>Click icon to add tab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96892A7-660C-5643-8944-0CFA94FB68C3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7054" y="840689"/>
            <a:ext cx="8067677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6897644"/>
      </p:ext>
    </p:extLst>
  </p:cSld>
  <p:clrMapOvr>
    <a:masterClrMapping/>
  </p:clrMapOvr>
  <p:transition spd="slow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81025" y="639763"/>
            <a:ext cx="3915130" cy="5689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  <a:lvl6pPr marL="685800" indent="0">
              <a:buNone/>
              <a:defRPr/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4632326" y="634937"/>
            <a:ext cx="4054474" cy="56706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5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981494-E5EE-8F46-9728-D91DCD3F58AA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384139"/>
      </p:ext>
    </p:extLst>
  </p:cSld>
  <p:clrMapOvr>
    <a:masterClrMapping/>
  </p:clrMapOvr>
  <p:transition spd="slow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hart, 1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632325" y="634937"/>
            <a:ext cx="4054475" cy="56706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6"/>
          </p:nvPr>
        </p:nvSpPr>
        <p:spPr>
          <a:xfrm>
            <a:off x="581025" y="633413"/>
            <a:ext cx="3917823" cy="56721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7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201FC8-56AD-AF4A-B60F-EC4C3FB07D1B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698682"/>
      </p:ext>
    </p:extLst>
  </p:cSld>
  <p:clrMapOvr>
    <a:masterClrMapping/>
  </p:clrMapOvr>
  <p:transition spd="slow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Wide Chart, 1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5632450" y="634937"/>
            <a:ext cx="3054350" cy="56706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6"/>
          </p:nvPr>
        </p:nvSpPr>
        <p:spPr>
          <a:xfrm>
            <a:off x="581025" y="633413"/>
            <a:ext cx="4919669" cy="56721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7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647AEA-5940-4B4F-907F-6404DBDD3564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938105"/>
      </p:ext>
    </p:extLst>
  </p:cSld>
  <p:clrMapOvr>
    <a:masterClrMapping/>
  </p:clrMapOvr>
  <p:transition spd="slow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hart (Left), 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81026" y="3573462"/>
            <a:ext cx="3922712" cy="27320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632325" y="634937"/>
            <a:ext cx="4054475" cy="56706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6"/>
          </p:nvPr>
        </p:nvSpPr>
        <p:spPr>
          <a:xfrm>
            <a:off x="584201" y="620650"/>
            <a:ext cx="3922712" cy="28099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7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5E2D27-9A1A-BC43-8DF3-F5D19383AC60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504142"/>
      </p:ext>
    </p:extLst>
  </p:cSld>
  <p:clrMapOvr>
    <a:masterClrMapping/>
  </p:clrMapOvr>
  <p:transition spd="slow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, 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632325" y="3576638"/>
            <a:ext cx="4054476" cy="27289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632325" y="633413"/>
            <a:ext cx="4054476" cy="279717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/>
          </p:nvPr>
        </p:nvSpPr>
        <p:spPr>
          <a:xfrm>
            <a:off x="581025" y="633413"/>
            <a:ext cx="3922713" cy="27971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/>
          </p:nvPr>
        </p:nvSpPr>
        <p:spPr>
          <a:xfrm>
            <a:off x="589091" y="3576638"/>
            <a:ext cx="3917822" cy="27241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28"/>
          <p:cNvSpPr>
            <a:spLocks noGrp="1" noChangeArrowheads="1"/>
          </p:cNvSpPr>
          <p:nvPr>
            <p:ph type="sldNum" sz="quarter" idx="20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8081BE-BBCF-0240-A6F6-083AC94136C6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7703480"/>
      </p:ext>
    </p:extLst>
  </p:cSld>
  <p:clrMapOvr>
    <a:masterClrMapping/>
  </p:clrMapOvr>
  <p:transition spd="slow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hart (Top), 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581024" y="633413"/>
            <a:ext cx="8105776" cy="27924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581025" y="3576638"/>
            <a:ext cx="3929063" cy="27289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4638675" y="3576638"/>
            <a:ext cx="4048126" cy="27289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20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417A0D-05CC-7140-94CC-2C09415A93D3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7197"/>
      </p:ext>
    </p:extLst>
  </p:cSld>
  <p:clrMapOvr>
    <a:masterClrMapping/>
  </p:clrMapOvr>
  <p:transition spd="slow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hart (Top), 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"/>
          <p:cNvSpPr>
            <a:spLocks noGrp="1" noChangeArrowheads="1"/>
          </p:cNvSpPr>
          <p:nvPr>
            <p:ph type="sldNum" sz="quarter" idx="20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417A0D-05CC-7140-94CC-2C09415A93D3}" type="slidenum">
              <a:rPr lang="en-US">
                <a:solidFill>
                  <a:srgbClr val="5E8AB4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  <p:pic>
        <p:nvPicPr>
          <p:cNvPr id="7" name="Picture 7" descr="LOGO_NG_HWHFY_PMS300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35425" y="6506305"/>
            <a:ext cx="1015644" cy="303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1"/>
          <p:cNvSpPr/>
          <p:nvPr userDrawn="1"/>
        </p:nvSpPr>
        <p:spPr>
          <a:xfrm>
            <a:off x="0" y="0"/>
            <a:ext cx="9144000" cy="957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806468"/>
      </p:ext>
    </p:extLst>
  </p:cSld>
  <p:clrMapOvr>
    <a:masterClrMapping/>
  </p:clrMapOvr>
  <p:transition spd="slow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5" y="881003"/>
            <a:ext cx="8093075" cy="40011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ADB40B-38A9-4FFD-89E6-C87D0B6B7392}" type="datetime1">
              <a:rPr lang="en-US" smtClean="0"/>
              <a:t>6/22/2020</a:t>
            </a:fld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C507DD-A2D4-4BBA-985A-1008333316C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4291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Page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4944" y="813816"/>
            <a:ext cx="7936992" cy="5394960"/>
          </a:xfrm>
        </p:spPr>
        <p:txBody>
          <a:bodyPr/>
          <a:lstStyle>
            <a:lvl5pPr>
              <a:defRPr/>
            </a:lvl5pPr>
            <a:lvl6pPr marL="914400">
              <a:defRPr/>
            </a:lvl6pPr>
            <a:lvl7pPr marL="1143000">
              <a:defRPr/>
            </a:lvl7pPr>
            <a:lvl8pPr marL="1371600">
              <a:defRPr/>
            </a:lvl8pPr>
            <a:lvl9pPr marL="1600200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D49A180E-EA7F-41F4-BBDD-187EA9DBEA5D}" type="slidenum">
              <a:rPr lang="en-US">
                <a:solidFill>
                  <a:srgbClr val="5E8AB4"/>
                </a:solidFill>
              </a:rPr>
              <a:pPr/>
              <a:t>‹#›</a:t>
            </a:fld>
            <a:endParaRPr lang="en-US" dirty="0">
              <a:solidFill>
                <a:srgbClr val="5E8AB4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-1019556"/>
            <a:ext cx="2286000" cy="219456"/>
          </a:xfrm>
        </p:spPr>
        <p:txBody>
          <a:bodyPr lIns="18288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Chapter Number and Title</a:t>
            </a:r>
          </a:p>
        </p:txBody>
      </p:sp>
    </p:spTree>
    <p:extLst>
      <p:ext uri="{BB962C8B-B14F-4D97-AF65-F5344CB8AC3E}">
        <p14:creationId xmlns:p14="http://schemas.microsoft.com/office/powerpoint/2010/main" val="3376113460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007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3"/>
          <p:cNvSpPr>
            <a:spLocks/>
          </p:cNvSpPr>
          <p:nvPr/>
        </p:nvSpPr>
        <p:spPr bwMode="auto">
          <a:xfrm>
            <a:off x="0" y="0"/>
            <a:ext cx="9159875" cy="2400300"/>
          </a:xfrm>
          <a:custGeom>
            <a:avLst/>
            <a:gdLst>
              <a:gd name="T0" fmla="*/ 0 w 5760"/>
              <a:gd name="T1" fmla="*/ 0 h 1512"/>
              <a:gd name="T2" fmla="*/ 0 w 5760"/>
              <a:gd name="T3" fmla="*/ 2147483646 h 1512"/>
              <a:gd name="T4" fmla="*/ 2147483646 w 5760"/>
              <a:gd name="T5" fmla="*/ 2147483646 h 1512"/>
              <a:gd name="T6" fmla="*/ 2147483646 w 5760"/>
              <a:gd name="T7" fmla="*/ 2147483646 h 1512"/>
              <a:gd name="T8" fmla="*/ 2147483646 w 5760"/>
              <a:gd name="T9" fmla="*/ 2147483646 h 1512"/>
              <a:gd name="T10" fmla="*/ 2147483646 w 5760"/>
              <a:gd name="T11" fmla="*/ 2147483646 h 1512"/>
              <a:gd name="T12" fmla="*/ 2147483646 w 5760"/>
              <a:gd name="T13" fmla="*/ 0 h 1512"/>
              <a:gd name="T14" fmla="*/ 0 w 5760"/>
              <a:gd name="T15" fmla="*/ 0 h 15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760" h="1512">
                <a:moveTo>
                  <a:pt x="0" y="0"/>
                </a:moveTo>
                <a:lnTo>
                  <a:pt x="0" y="1368"/>
                </a:lnTo>
                <a:lnTo>
                  <a:pt x="1008" y="1368"/>
                </a:lnTo>
                <a:lnTo>
                  <a:pt x="1152" y="1512"/>
                </a:lnTo>
                <a:lnTo>
                  <a:pt x="1296" y="1368"/>
                </a:lnTo>
                <a:lnTo>
                  <a:pt x="5760" y="1368"/>
                </a:lnTo>
                <a:lnTo>
                  <a:pt x="57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5" name="Picture 9" descr="NG logo small.ai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6388" y="265113"/>
            <a:ext cx="21717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7451725" y="6346825"/>
            <a:ext cx="1187450" cy="40005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dirty="0">
                <a:solidFill>
                  <a:srgbClr val="FF0000"/>
                </a:solidFill>
                <a:latin typeface="Arial" charset="0"/>
                <a:cs typeface="Arial" charset="0"/>
              </a:rPr>
              <a:t>DRAFT</a:t>
            </a:r>
          </a:p>
        </p:txBody>
      </p:sp>
      <p:sp>
        <p:nvSpPr>
          <p:cNvPr id="4302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593729" y="1337797"/>
            <a:ext cx="8043863" cy="52322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02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5" y="5164148"/>
            <a:ext cx="8043863" cy="503237"/>
          </a:xfrm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4668225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99453A2-10C3-4D44-A757-06302B9C5685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0">
                <a:solidFill>
                  <a:srgbClr val="FF000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fld id="{0273C03C-FC44-407F-BDA0-49DA715F9595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  <a:p>
            <a:endParaRPr lang="en-US" altLang="en-US" dirty="0">
              <a:solidFill>
                <a:srgbClr val="000000"/>
              </a:solidFill>
            </a:endParaRPr>
          </a:p>
          <a:p>
            <a:endParaRPr lang="en-US" altLang="en-US" dirty="0">
              <a:solidFill>
                <a:srgbClr val="000000"/>
              </a:solidFill>
            </a:endParaRPr>
          </a:p>
          <a:p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795851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E00859D-9AA8-462C-B8A6-1A66D380B612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fld id="{54F0A54C-3413-487F-9E76-5AAFBD958B78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6906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BC5EA97-1FAD-438A-BE7E-5D2A3561C5BF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fld id="{B5989393-1016-4628-BF9E-D382C9A910D9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40201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94418"/>
            <a:ext cx="8229600" cy="5232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3FA8E4A-0245-4FB8-AE38-CFBBE8943F85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fld id="{F600FC4E-80F4-43A8-B605-5BC36D2FC431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66278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6054279-16A0-4173-ABC5-619066EB58AC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fld id="{16F5AA96-9843-43E0-9FCC-B2121420DE38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41427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A63C12-B3A9-4576-98DA-404005C935F4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fld id="{01C63BCE-DC39-464C-9B67-9545AA8D3F70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625272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727214"/>
            <a:ext cx="3008313" cy="707886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636633A-F05A-4049-8403-CB22CBB18671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fld id="{9738FBCB-0D68-4703-A6EF-DD31D4CADF64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12320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967228"/>
            <a:ext cx="5486400" cy="40011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E61669E-C306-4549-BC02-B1BDCA8B54DC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fld id="{3A916FAB-2C89-4E8B-87C7-50E51CE4CEFB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3859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0"/>
          <p:cNvSpPr>
            <a:spLocks noChangeArrowheads="1"/>
          </p:cNvSpPr>
          <p:nvPr userDrawn="1"/>
        </p:nvSpPr>
        <p:spPr bwMode="auto">
          <a:xfrm>
            <a:off x="6934200" y="6019800"/>
            <a:ext cx="1828800" cy="809625"/>
          </a:xfrm>
          <a:prstGeom prst="rect">
            <a:avLst/>
          </a:prstGeom>
          <a:solidFill>
            <a:srgbClr val="0079C1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en-US" altLang="en-US" sz="2800" b="1" dirty="0">
              <a:solidFill>
                <a:srgbClr val="0079C1"/>
              </a:solidFill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93729" y="1337797"/>
            <a:ext cx="8043863" cy="52322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9" y="2882900"/>
            <a:ext cx="8043863" cy="503238"/>
          </a:xfrm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 b="1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>
              <a:defRPr/>
            </a:pPr>
            <a:fld id="{156C06C7-40B3-43AE-A39E-48570C720C07}" type="slidenum">
              <a:rPr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963" y="132221"/>
            <a:ext cx="1828800" cy="58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30870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BEDE831-91FA-43B9-AF8C-356033FADE72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fld id="{62BC3D37-326D-4791-9AAD-7CBE4493B77D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041459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1155" y="762000"/>
            <a:ext cx="615553" cy="5372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93727" y="762000"/>
            <a:ext cx="5915025" cy="5372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E494B45-EF98-4969-B7B9-481FF57E9801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fld id="{48259674-C570-45BF-9BF8-5F53013559B7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16127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30" y="762000"/>
            <a:ext cx="6149975" cy="5191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485900"/>
            <a:ext cx="3968750" cy="464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14875" y="1485900"/>
            <a:ext cx="3968750" cy="464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4DE34A8-2924-4537-BE1C-1F48F306661C}" type="datetime1">
              <a:rPr lang="en-US">
                <a:solidFill>
                  <a:srgbClr val="000000"/>
                </a:solidFill>
              </a:rPr>
              <a:pPr>
                <a:defRPr/>
              </a:pPr>
              <a:t>6/22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fld id="{865BDC2D-F2A5-43A2-9913-E0EF3B91EABC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619935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rgbClr val="007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33"/>
          <p:cNvSpPr>
            <a:spLocks/>
          </p:cNvSpPr>
          <p:nvPr/>
        </p:nvSpPr>
        <p:spPr bwMode="auto">
          <a:xfrm>
            <a:off x="0" y="0"/>
            <a:ext cx="9159875" cy="2400300"/>
          </a:xfrm>
          <a:custGeom>
            <a:avLst/>
            <a:gdLst>
              <a:gd name="T0" fmla="*/ 0 w 5760"/>
              <a:gd name="T1" fmla="*/ 0 h 1512"/>
              <a:gd name="T2" fmla="*/ 0 w 5760"/>
              <a:gd name="T3" fmla="*/ 2147483646 h 1512"/>
              <a:gd name="T4" fmla="*/ 2147483646 w 5760"/>
              <a:gd name="T5" fmla="*/ 2147483646 h 1512"/>
              <a:gd name="T6" fmla="*/ 2147483646 w 5760"/>
              <a:gd name="T7" fmla="*/ 2147483646 h 1512"/>
              <a:gd name="T8" fmla="*/ 2147483646 w 5760"/>
              <a:gd name="T9" fmla="*/ 2147483646 h 1512"/>
              <a:gd name="T10" fmla="*/ 2147483646 w 5760"/>
              <a:gd name="T11" fmla="*/ 2147483646 h 1512"/>
              <a:gd name="T12" fmla="*/ 2147483646 w 5760"/>
              <a:gd name="T13" fmla="*/ 0 h 1512"/>
              <a:gd name="T14" fmla="*/ 0 w 5760"/>
              <a:gd name="T15" fmla="*/ 0 h 15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760" h="1512">
                <a:moveTo>
                  <a:pt x="0" y="0"/>
                </a:moveTo>
                <a:lnTo>
                  <a:pt x="0" y="1368"/>
                </a:lnTo>
                <a:lnTo>
                  <a:pt x="1008" y="1368"/>
                </a:lnTo>
                <a:lnTo>
                  <a:pt x="1152" y="1512"/>
                </a:lnTo>
                <a:lnTo>
                  <a:pt x="1296" y="1368"/>
                </a:lnTo>
                <a:lnTo>
                  <a:pt x="5760" y="1368"/>
                </a:lnTo>
                <a:lnTo>
                  <a:pt x="57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8" name="Picture 9" descr="NG logo small.ai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6388" y="265113"/>
            <a:ext cx="21717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7" descr="NG_LIBRARY_US_D5-406_T_RGB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6100" y="2971800"/>
            <a:ext cx="2171700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9" descr="NG_LIBRARY_US_D4-226_T_RGB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2971800"/>
            <a:ext cx="2171700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0" descr="SI0443 XA1H8825_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47" r="13043" b="2174"/>
          <a:stretch>
            <a:fillRect/>
          </a:stretch>
        </p:blipFill>
        <p:spPr bwMode="auto">
          <a:xfrm>
            <a:off x="5486400" y="2971800"/>
            <a:ext cx="2171700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819150" y="3308350"/>
            <a:ext cx="1944688" cy="935038"/>
          </a:xfrm>
          <a:prstGeom prst="rect">
            <a:avLst/>
          </a:prstGeom>
          <a:solidFill>
            <a:schemeClr val="bg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 dirty="0">
              <a:solidFill>
                <a:srgbClr val="0079C1"/>
              </a:solidFill>
            </a:endParaRP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3198813" y="3308350"/>
            <a:ext cx="1946275" cy="935038"/>
          </a:xfrm>
          <a:prstGeom prst="rect">
            <a:avLst/>
          </a:prstGeom>
          <a:solidFill>
            <a:schemeClr val="bg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 dirty="0">
              <a:solidFill>
                <a:srgbClr val="0079C1"/>
              </a:solidFill>
            </a:endParaRP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5599113" y="3308350"/>
            <a:ext cx="1946275" cy="935038"/>
          </a:xfrm>
          <a:prstGeom prst="rect">
            <a:avLst/>
          </a:prstGeom>
          <a:solidFill>
            <a:schemeClr val="bg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 dirty="0">
              <a:solidFill>
                <a:srgbClr val="0079C1"/>
              </a:solidFill>
            </a:endParaRPr>
          </a:p>
        </p:txBody>
      </p:sp>
      <p:sp>
        <p:nvSpPr>
          <p:cNvPr id="4302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593729" y="1337797"/>
            <a:ext cx="8043863" cy="52322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02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5" y="5164148"/>
            <a:ext cx="8043863" cy="503237"/>
          </a:xfrm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819150" y="3308074"/>
            <a:ext cx="1944688" cy="935038"/>
          </a:xfrm>
        </p:spPr>
        <p:txBody>
          <a:bodyPr anchor="ctr"/>
          <a:lstStyle>
            <a:lvl1pPr marL="0" indent="0" algn="ctr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1pPr>
            <a:lvl2pPr marL="457200" indent="0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914400" indent="0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371600" indent="0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1828800" indent="0">
              <a:buFontTx/>
              <a:buNone/>
              <a:defRPr lang="en-US" sz="1200" b="1" kern="1200" dirty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199606" y="3308074"/>
            <a:ext cx="1944688" cy="935038"/>
          </a:xfrm>
        </p:spPr>
        <p:txBody>
          <a:bodyPr anchor="ctr"/>
          <a:lstStyle>
            <a:lvl1pPr marL="0" indent="0" algn="ctr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1pPr>
            <a:lvl2pPr marL="457200" indent="0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914400" indent="0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371600" indent="0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1828800" indent="0">
              <a:buFontTx/>
              <a:buNone/>
              <a:defRPr lang="en-US" sz="1200" b="1" kern="1200" dirty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599906" y="3308074"/>
            <a:ext cx="1944688" cy="935038"/>
          </a:xfrm>
        </p:spPr>
        <p:txBody>
          <a:bodyPr anchor="ctr"/>
          <a:lstStyle>
            <a:lvl1pPr marL="0" indent="0" algn="ctr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1pPr>
            <a:lvl2pPr marL="457200" indent="0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914400" indent="0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371600" indent="0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1828800" indent="0">
              <a:buFontTx/>
              <a:buNone/>
              <a:defRPr lang="en-US" sz="1200" b="1" kern="1200" dirty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760784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solidFill>
          <a:srgbClr val="007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33"/>
          <p:cNvSpPr>
            <a:spLocks/>
          </p:cNvSpPr>
          <p:nvPr/>
        </p:nvSpPr>
        <p:spPr bwMode="auto">
          <a:xfrm>
            <a:off x="0" y="0"/>
            <a:ext cx="9159875" cy="2400300"/>
          </a:xfrm>
          <a:custGeom>
            <a:avLst/>
            <a:gdLst>
              <a:gd name="T0" fmla="*/ 0 w 5760"/>
              <a:gd name="T1" fmla="*/ 0 h 1512"/>
              <a:gd name="T2" fmla="*/ 0 w 5760"/>
              <a:gd name="T3" fmla="*/ 2147483646 h 1512"/>
              <a:gd name="T4" fmla="*/ 2147483646 w 5760"/>
              <a:gd name="T5" fmla="*/ 2147483646 h 1512"/>
              <a:gd name="T6" fmla="*/ 2147483646 w 5760"/>
              <a:gd name="T7" fmla="*/ 2147483646 h 1512"/>
              <a:gd name="T8" fmla="*/ 2147483646 w 5760"/>
              <a:gd name="T9" fmla="*/ 2147483646 h 1512"/>
              <a:gd name="T10" fmla="*/ 2147483646 w 5760"/>
              <a:gd name="T11" fmla="*/ 2147483646 h 1512"/>
              <a:gd name="T12" fmla="*/ 2147483646 w 5760"/>
              <a:gd name="T13" fmla="*/ 0 h 1512"/>
              <a:gd name="T14" fmla="*/ 0 w 5760"/>
              <a:gd name="T15" fmla="*/ 0 h 15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760" h="1512">
                <a:moveTo>
                  <a:pt x="0" y="0"/>
                </a:moveTo>
                <a:lnTo>
                  <a:pt x="0" y="1368"/>
                </a:lnTo>
                <a:lnTo>
                  <a:pt x="1008" y="1368"/>
                </a:lnTo>
                <a:lnTo>
                  <a:pt x="1152" y="1512"/>
                </a:lnTo>
                <a:lnTo>
                  <a:pt x="1296" y="1368"/>
                </a:lnTo>
                <a:lnTo>
                  <a:pt x="5760" y="1368"/>
                </a:lnTo>
                <a:lnTo>
                  <a:pt x="57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" name="Picture 9" descr="NG logo small.ai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6388" y="265113"/>
            <a:ext cx="21717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7" descr="NG_LIBRARY_US_D5-406_T_RGB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6100" y="2971800"/>
            <a:ext cx="2171700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9" descr="NG_LIBRARY_US_D4-226_T_RGB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2971800"/>
            <a:ext cx="2171700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819150" y="3308350"/>
            <a:ext cx="1944688" cy="935038"/>
          </a:xfrm>
          <a:prstGeom prst="rect">
            <a:avLst/>
          </a:prstGeom>
          <a:solidFill>
            <a:schemeClr val="bg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 dirty="0">
              <a:solidFill>
                <a:srgbClr val="0079C1"/>
              </a:solidFill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3198813" y="3308350"/>
            <a:ext cx="1946275" cy="935038"/>
          </a:xfrm>
          <a:prstGeom prst="rect">
            <a:avLst/>
          </a:prstGeom>
          <a:solidFill>
            <a:schemeClr val="bg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 dirty="0">
              <a:solidFill>
                <a:srgbClr val="0079C1"/>
              </a:solidFill>
            </a:endParaRPr>
          </a:p>
        </p:txBody>
      </p:sp>
      <p:sp>
        <p:nvSpPr>
          <p:cNvPr id="4302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593729" y="1337797"/>
            <a:ext cx="8043863" cy="52322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02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5" y="5164148"/>
            <a:ext cx="8043863" cy="503237"/>
          </a:xfrm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819150" y="3308074"/>
            <a:ext cx="1944688" cy="935038"/>
          </a:xfrm>
        </p:spPr>
        <p:txBody>
          <a:bodyPr anchor="ctr"/>
          <a:lstStyle>
            <a:lvl1pPr marL="0" indent="0" algn="ctr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1pPr>
            <a:lvl2pPr marL="457200" indent="0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914400" indent="0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371600" indent="0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1828800" indent="0">
              <a:buFontTx/>
              <a:buNone/>
              <a:defRPr lang="en-US" sz="1200" b="1" kern="1200" dirty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199606" y="3308074"/>
            <a:ext cx="1944688" cy="935038"/>
          </a:xfrm>
        </p:spPr>
        <p:txBody>
          <a:bodyPr anchor="ctr"/>
          <a:lstStyle>
            <a:lvl1pPr marL="0" indent="0" algn="ctr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1pPr>
            <a:lvl2pPr marL="457200" indent="0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914400" indent="0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371600" indent="0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1828800" indent="0">
              <a:buFontTx/>
              <a:buNone/>
              <a:defRPr lang="en-US" sz="1200" b="1" kern="1200" dirty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144738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solidFill>
          <a:srgbClr val="007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33"/>
          <p:cNvSpPr>
            <a:spLocks/>
          </p:cNvSpPr>
          <p:nvPr/>
        </p:nvSpPr>
        <p:spPr bwMode="auto">
          <a:xfrm>
            <a:off x="0" y="0"/>
            <a:ext cx="9159875" cy="2400300"/>
          </a:xfrm>
          <a:custGeom>
            <a:avLst/>
            <a:gdLst>
              <a:gd name="T0" fmla="*/ 0 w 5760"/>
              <a:gd name="T1" fmla="*/ 0 h 1512"/>
              <a:gd name="T2" fmla="*/ 0 w 5760"/>
              <a:gd name="T3" fmla="*/ 2147483646 h 1512"/>
              <a:gd name="T4" fmla="*/ 2147483646 w 5760"/>
              <a:gd name="T5" fmla="*/ 2147483646 h 1512"/>
              <a:gd name="T6" fmla="*/ 2147483646 w 5760"/>
              <a:gd name="T7" fmla="*/ 2147483646 h 1512"/>
              <a:gd name="T8" fmla="*/ 2147483646 w 5760"/>
              <a:gd name="T9" fmla="*/ 2147483646 h 1512"/>
              <a:gd name="T10" fmla="*/ 2147483646 w 5760"/>
              <a:gd name="T11" fmla="*/ 2147483646 h 1512"/>
              <a:gd name="T12" fmla="*/ 2147483646 w 5760"/>
              <a:gd name="T13" fmla="*/ 0 h 1512"/>
              <a:gd name="T14" fmla="*/ 0 w 5760"/>
              <a:gd name="T15" fmla="*/ 0 h 15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760" h="1512">
                <a:moveTo>
                  <a:pt x="0" y="0"/>
                </a:moveTo>
                <a:lnTo>
                  <a:pt x="0" y="1368"/>
                </a:lnTo>
                <a:lnTo>
                  <a:pt x="1008" y="1368"/>
                </a:lnTo>
                <a:lnTo>
                  <a:pt x="1152" y="1512"/>
                </a:lnTo>
                <a:lnTo>
                  <a:pt x="1296" y="1368"/>
                </a:lnTo>
                <a:lnTo>
                  <a:pt x="5760" y="1368"/>
                </a:lnTo>
                <a:lnTo>
                  <a:pt x="57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6" name="Picture 9" descr="NG logo small.ai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6388" y="265113"/>
            <a:ext cx="21717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9" descr="NG_LIBRARY_US_D4-226_T_RGB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2971800"/>
            <a:ext cx="2171700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819150" y="3308350"/>
            <a:ext cx="1944688" cy="935038"/>
          </a:xfrm>
          <a:prstGeom prst="rect">
            <a:avLst/>
          </a:prstGeom>
          <a:solidFill>
            <a:schemeClr val="bg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 dirty="0">
              <a:solidFill>
                <a:srgbClr val="0079C1"/>
              </a:solidFill>
            </a:endParaRPr>
          </a:p>
        </p:txBody>
      </p:sp>
      <p:sp>
        <p:nvSpPr>
          <p:cNvPr id="4302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593729" y="1337797"/>
            <a:ext cx="8043863" cy="52322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02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5" y="5164148"/>
            <a:ext cx="8043863" cy="503237"/>
          </a:xfrm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819150" y="3308074"/>
            <a:ext cx="1944688" cy="935038"/>
          </a:xfrm>
        </p:spPr>
        <p:txBody>
          <a:bodyPr anchor="ctr"/>
          <a:lstStyle>
            <a:lvl1pPr marL="0" indent="0" algn="ctr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1pPr>
            <a:lvl2pPr marL="457200" indent="0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914400" indent="0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371600" indent="0">
              <a:buFontTx/>
              <a:buNone/>
              <a:defRPr lang="en-US" sz="1200" b="1" kern="1200" dirty="0" smtClean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1828800" indent="0">
              <a:buFontTx/>
              <a:buNone/>
              <a:defRPr lang="en-US" sz="1200" b="1" kern="1200" dirty="0">
                <a:solidFill>
                  <a:schemeClr val="tx2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818016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-3175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11" descr="117008864rev_retouched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-3175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/>
        </p:nvCxnSpPr>
        <p:spPr>
          <a:xfrm flipV="1">
            <a:off x="2043113" y="1300163"/>
            <a:ext cx="0" cy="4573587"/>
          </a:xfrm>
          <a:prstGeom prst="line">
            <a:avLst/>
          </a:prstGeom>
          <a:ln>
            <a:solidFill>
              <a:srgbClr val="0079C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7" descr="LOGO_NG_HWHFY_PMS300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6858000" y="368300"/>
            <a:ext cx="1828800" cy="5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12"/>
          <p:cNvCxnSpPr/>
          <p:nvPr userDrawn="1"/>
        </p:nvCxnSpPr>
        <p:spPr>
          <a:xfrm>
            <a:off x="576263" y="1079500"/>
            <a:ext cx="8067675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155396" y="2092232"/>
            <a:ext cx="5434442" cy="3552825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0"/>
              </a:spcBef>
              <a:buClr>
                <a:srgbClr val="0079C1"/>
              </a:buClr>
              <a:buFont typeface="+mj-lt"/>
              <a:buAutoNum type="romanUcPeriod"/>
              <a:tabLst>
                <a:tab pos="6400800" algn="l"/>
              </a:tabLst>
              <a:defRPr sz="1600" b="0">
                <a:solidFill>
                  <a:schemeClr val="tx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0"/>
              </a:spcBef>
              <a:buClr>
                <a:srgbClr val="0079C1"/>
              </a:buClr>
              <a:buFont typeface="Arial" pitchFamily="34" charset="0"/>
              <a:buChar char="●"/>
              <a:tabLst>
                <a:tab pos="6400800" algn="l"/>
              </a:tabLst>
              <a:defRPr sz="1400" b="0" baseline="0">
                <a:solidFill>
                  <a:schemeClr val="tx1"/>
                </a:solidFill>
              </a:defRPr>
            </a:lvl2pPr>
            <a:lvl3pPr marL="822960" indent="-274320" defTabSz="914400">
              <a:lnSpc>
                <a:spcPct val="100000"/>
              </a:lnSpc>
              <a:spcBef>
                <a:spcPts val="0"/>
              </a:spcBef>
              <a:buClr>
                <a:srgbClr val="0079C1"/>
              </a:buClr>
              <a:buSzPct val="100000"/>
              <a:buFont typeface="+mj-lt"/>
              <a:buAutoNum type="alphaLcPeriod"/>
              <a:tabLst>
                <a:tab pos="6400800" algn="l"/>
              </a:tabLst>
              <a:defRPr sz="1400" b="0" baseline="0">
                <a:solidFill>
                  <a:schemeClr val="tx1"/>
                </a:solidFill>
              </a:defRPr>
            </a:lvl3pPr>
            <a:lvl4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Font typeface="+mj-lt"/>
              <a:buAutoNum type="alphaLcPeriod"/>
              <a:tabLst>
                <a:tab pos="6400800" algn="l"/>
              </a:tabLst>
              <a:defRPr sz="1600">
                <a:solidFill>
                  <a:srgbClr val="4F8ABE"/>
                </a:solidFill>
              </a:defRPr>
            </a:lvl4pPr>
            <a:lvl5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Font typeface="+mj-lt"/>
              <a:buAutoNum type="alphaLcPeriod"/>
              <a:tabLst>
                <a:tab pos="6400800" algn="l"/>
              </a:tabLst>
              <a:defRPr sz="1600">
                <a:solidFill>
                  <a:srgbClr val="4F8ABE"/>
                </a:solidFill>
              </a:defRPr>
            </a:lvl5pPr>
            <a:lvl6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Font typeface="+mj-lt"/>
              <a:buAutoNum type="alphaLcPeriod"/>
              <a:defRPr sz="1600">
                <a:solidFill>
                  <a:srgbClr val="4F779C"/>
                </a:solidFill>
              </a:defRPr>
            </a:lvl6pPr>
            <a:lvl7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Font typeface="+mj-lt"/>
              <a:buAutoNum type="alphaLcPeriod"/>
              <a:tabLst/>
              <a:defRPr sz="1600">
                <a:solidFill>
                  <a:srgbClr val="4F779C"/>
                </a:solidFill>
              </a:defRPr>
            </a:lvl7pPr>
            <a:lvl8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SzPct val="100000"/>
              <a:buFont typeface="+mj-lt"/>
              <a:buAutoNum type="alphaLcPeriod"/>
              <a:defRPr sz="1600">
                <a:solidFill>
                  <a:srgbClr val="4F779C"/>
                </a:solidFill>
              </a:defRPr>
            </a:lvl8pPr>
            <a:lvl9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SzPct val="100000"/>
              <a:buFont typeface="+mj-lt"/>
              <a:buAutoNum type="alphaLcPeriod"/>
              <a:defRPr sz="1600">
                <a:solidFill>
                  <a:srgbClr val="4F779C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155396" y="1353580"/>
            <a:ext cx="5434442" cy="524193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2400" b="1" baseline="0">
                <a:solidFill>
                  <a:srgbClr val="0079C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5337918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849313"/>
            <a:ext cx="9144000" cy="2217737"/>
          </a:xfrm>
          <a:prstGeom prst="rect">
            <a:avLst/>
          </a:prstGeom>
          <a:solidFill>
            <a:srgbClr val="0079C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/>
          <p:nvPr userDrawn="1"/>
        </p:nvSpPr>
        <p:spPr>
          <a:xfrm>
            <a:off x="6534150" y="849313"/>
            <a:ext cx="2609850" cy="2293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6" name="Picture 7" descr="LOGO_NG_HWHFY_PMS300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911975" y="1706563"/>
            <a:ext cx="1828800" cy="5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Rectangle 41"/>
          <p:cNvSpPr>
            <a:spLocks noGrp="1" noChangeArrowheads="1"/>
          </p:cNvSpPr>
          <p:nvPr>
            <p:ph type="ctrTitle" sz="quarter"/>
          </p:nvPr>
        </p:nvSpPr>
        <p:spPr>
          <a:xfrm>
            <a:off x="566738" y="1510302"/>
            <a:ext cx="5883276" cy="1556723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100000"/>
              </a:lnSpc>
              <a:spcBef>
                <a:spcPts val="0"/>
              </a:spcBef>
              <a:defRPr sz="3600" b="1" cap="none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2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FBBF55B5-9C0E-472B-A686-CB68408CF0C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393498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LOGO_NG_HWHFY_PMS300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440613" y="247650"/>
            <a:ext cx="122396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10"/>
          <p:cNvCxnSpPr/>
          <p:nvPr userDrawn="1"/>
        </p:nvCxnSpPr>
        <p:spPr>
          <a:xfrm>
            <a:off x="576263" y="1079500"/>
            <a:ext cx="8067675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81025" y="1203324"/>
            <a:ext cx="8105775" cy="509320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b="1">
                <a:solidFill>
                  <a:srgbClr val="000000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79C1"/>
              </a:buClr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79C1"/>
              </a:buClr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79C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b="1" cap="none" baseline="0">
                <a:solidFill>
                  <a:srgbClr val="0079C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81025" y="629284"/>
            <a:ext cx="7968615" cy="41997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 baseline="0">
                <a:solidFill>
                  <a:srgbClr val="00355F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28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52626249-DC1D-48E9-A3D7-2373C5EDF21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906343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n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/>
          <p:nvPr userDrawn="1"/>
        </p:nvCxnSpPr>
        <p:spPr>
          <a:xfrm>
            <a:off x="576263" y="1228725"/>
            <a:ext cx="8067675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81025" y="1357314"/>
            <a:ext cx="8105775" cy="49392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b="1">
                <a:solidFill>
                  <a:srgbClr val="000000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9C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81025" y="545045"/>
            <a:ext cx="7968615" cy="648754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1">
                <a:solidFill>
                  <a:srgbClr val="00355F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1">
                <a:solidFill>
                  <a:srgbClr val="00355F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1">
                <a:solidFill>
                  <a:srgbClr val="00355F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1">
                <a:solidFill>
                  <a:srgbClr val="00355F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28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417BEDFA-7C69-40AF-95AD-68DF624ABC4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21378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0"/>
          <p:cNvSpPr>
            <a:spLocks noChangeArrowheads="1"/>
          </p:cNvSpPr>
          <p:nvPr userDrawn="1"/>
        </p:nvSpPr>
        <p:spPr bwMode="auto">
          <a:xfrm>
            <a:off x="6934200" y="6019800"/>
            <a:ext cx="1828800" cy="809625"/>
          </a:xfrm>
          <a:prstGeom prst="rect">
            <a:avLst/>
          </a:prstGeom>
          <a:solidFill>
            <a:srgbClr val="0079C1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en-US" altLang="en-US" sz="2800" b="1" dirty="0">
              <a:solidFill>
                <a:srgbClr val="0079C1"/>
              </a:solidFill>
            </a:endParaRPr>
          </a:p>
        </p:txBody>
      </p:sp>
      <p:pic>
        <p:nvPicPr>
          <p:cNvPr id="6" name="Picture 9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811963" y="131763"/>
            <a:ext cx="1828800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93729" y="1337797"/>
            <a:ext cx="8043863" cy="52322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9" y="2882900"/>
            <a:ext cx="8043863" cy="503238"/>
          </a:xfrm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562CCC3-6D42-458C-A3E8-876F33921378}" type="slidenum">
              <a:rPr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63975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7"/>
          <p:cNvCxnSpPr/>
          <p:nvPr userDrawn="1"/>
        </p:nvCxnSpPr>
        <p:spPr>
          <a:xfrm>
            <a:off x="576263" y="841375"/>
            <a:ext cx="8067675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81024" y="854074"/>
            <a:ext cx="8105776" cy="544245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b="1">
                <a:solidFill>
                  <a:srgbClr val="000000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9C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862104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Colums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9"/>
          <p:cNvCxnSpPr/>
          <p:nvPr userDrawn="1"/>
        </p:nvCxnSpPr>
        <p:spPr>
          <a:xfrm>
            <a:off x="576263" y="1079500"/>
            <a:ext cx="8067675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788" y="152570"/>
            <a:ext cx="8101012" cy="3841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79C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581025" y="1202302"/>
            <a:ext cx="3922713" cy="50817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4632325" y="1202302"/>
            <a:ext cx="4054475" cy="50817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81025" y="623454"/>
            <a:ext cx="7968615" cy="41997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 baseline="0">
                <a:solidFill>
                  <a:srgbClr val="00355F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5178227"/>
      </p:ext>
    </p:extLst>
  </p:cSld>
  <p:clrMapOvr>
    <a:masterClrMapping/>
  </p:clrMapOvr>
  <p:transition spd="slow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dth_subhead lef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7"/>
          <p:cNvSpPr>
            <a:spLocks noChangeShapeType="1"/>
          </p:cNvSpPr>
          <p:nvPr/>
        </p:nvSpPr>
        <p:spPr bwMode="auto">
          <a:xfrm rot="5400000">
            <a:off x="-349250" y="3475038"/>
            <a:ext cx="5581650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/>
        </p:spPr>
        <p:txBody>
          <a:bodyPr lIns="72000" tIns="72000" rIns="72000" bIns="7200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ea typeface="ＭＳ Ｐゴシック" charset="0"/>
            </a:endParaRPr>
          </a:p>
        </p:txBody>
      </p:sp>
      <p:cxnSp>
        <p:nvCxnSpPr>
          <p:cNvPr id="6" name="Straight Connector 7"/>
          <p:cNvCxnSpPr/>
          <p:nvPr userDrawn="1"/>
        </p:nvCxnSpPr>
        <p:spPr>
          <a:xfrm>
            <a:off x="576263" y="841375"/>
            <a:ext cx="8067675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581024" y="854075"/>
            <a:ext cx="1761484" cy="5475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527442" y="854075"/>
            <a:ext cx="6159358" cy="5475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28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2052AA1D-8305-483E-9BC5-59B43626F17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404516"/>
      </p:ext>
    </p:extLst>
  </p:cSld>
  <p:clrMapOvr>
    <a:masterClrMapping/>
  </p:clrMapOvr>
  <p:transition spd="slow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7"/>
          <p:cNvCxnSpPr/>
          <p:nvPr userDrawn="1"/>
        </p:nvCxnSpPr>
        <p:spPr>
          <a:xfrm>
            <a:off x="576263" y="841375"/>
            <a:ext cx="8067675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79438" y="831849"/>
            <a:ext cx="8107362" cy="2600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79438" y="3573463"/>
            <a:ext cx="8107362" cy="27320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28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FB24A9C1-6403-40A0-9777-330F5EAF9DB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57158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inition of Ter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8"/>
          <p:cNvSpPr txBox="1">
            <a:spLocks noChangeArrowheads="1"/>
          </p:cNvSpPr>
          <p:nvPr/>
        </p:nvSpPr>
        <p:spPr bwMode="auto">
          <a:xfrm>
            <a:off x="581025" y="6096000"/>
            <a:ext cx="7092950" cy="246063"/>
          </a:xfrm>
          <a:prstGeom prst="rect">
            <a:avLst/>
          </a:prstGeom>
          <a:noFill/>
          <a:ln>
            <a:noFill/>
          </a:ln>
          <a:extLst/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i="1" dirty="0">
                <a:solidFill>
                  <a:srgbClr val="000000"/>
                </a:solidFill>
              </a:rPr>
              <a:t>Note:  All dollar amounts are presented in thousands except per units data or unless otherwise noted</a:t>
            </a:r>
            <a:endParaRPr lang="en-US" sz="1000" dirty="0">
              <a:solidFill>
                <a:srgbClr val="000000"/>
              </a:solidFill>
            </a:endParaRPr>
          </a:p>
        </p:txBody>
      </p:sp>
      <p:cxnSp>
        <p:nvCxnSpPr>
          <p:cNvPr id="5" name="Straight Connector 6"/>
          <p:cNvCxnSpPr/>
          <p:nvPr userDrawn="1"/>
        </p:nvCxnSpPr>
        <p:spPr>
          <a:xfrm>
            <a:off x="576263" y="841375"/>
            <a:ext cx="8067675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able Placeholder 8"/>
          <p:cNvSpPr>
            <a:spLocks noGrp="1"/>
          </p:cNvSpPr>
          <p:nvPr>
            <p:ph type="tbl" sz="quarter" idx="12"/>
          </p:nvPr>
        </p:nvSpPr>
        <p:spPr>
          <a:xfrm>
            <a:off x="581025" y="854075"/>
            <a:ext cx="8105775" cy="4988941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en-US" noProof="0" dirty="0"/>
              <a:t>Click icon to add tab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E4DC91FB-FB0F-459F-8431-8DB1B67223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8755132"/>
      </p:ext>
    </p:extLst>
  </p:cSld>
  <p:clrMapOvr>
    <a:masterClrMapping/>
  </p:clrMapOvr>
  <p:transition spd="slow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81025" y="639763"/>
            <a:ext cx="3915130" cy="5689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  <a:lvl6pPr marL="685800" indent="0">
              <a:buNone/>
              <a:defRPr/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4632326" y="634937"/>
            <a:ext cx="4054474" cy="56706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5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A32CBD6F-28BC-4F5F-AD03-7F61FB8C625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0326664"/>
      </p:ext>
    </p:extLst>
  </p:cSld>
  <p:clrMapOvr>
    <a:masterClrMapping/>
  </p:clrMapOvr>
  <p:transition spd="slow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hart, 1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632325" y="634937"/>
            <a:ext cx="4054475" cy="56706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6"/>
          </p:nvPr>
        </p:nvSpPr>
        <p:spPr>
          <a:xfrm>
            <a:off x="581025" y="633413"/>
            <a:ext cx="3917823" cy="56721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7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B80A1543-34C7-433F-A879-F9377329AE3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1910270"/>
      </p:ext>
    </p:extLst>
  </p:cSld>
  <p:clrMapOvr>
    <a:masterClrMapping/>
  </p:clrMapOvr>
  <p:transition spd="slow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Wide Chart, 1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5632450" y="634937"/>
            <a:ext cx="3054350" cy="56706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6"/>
          </p:nvPr>
        </p:nvSpPr>
        <p:spPr>
          <a:xfrm>
            <a:off x="581025" y="633413"/>
            <a:ext cx="4919669" cy="56721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7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D272A03A-406E-4D3C-B807-8E9663C0EB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6102009"/>
      </p:ext>
    </p:extLst>
  </p:cSld>
  <p:clrMapOvr>
    <a:masterClrMapping/>
  </p:clrMapOvr>
  <p:transition spd="slow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hart (Left), 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81026" y="3573462"/>
            <a:ext cx="3922712" cy="27320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632325" y="634937"/>
            <a:ext cx="4054475" cy="56706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6"/>
          </p:nvPr>
        </p:nvSpPr>
        <p:spPr>
          <a:xfrm>
            <a:off x="584201" y="620650"/>
            <a:ext cx="3922712" cy="28099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7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9DD98356-CC32-4BBC-83FC-7C2BBBCB208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014515"/>
      </p:ext>
    </p:extLst>
  </p:cSld>
  <p:clrMapOvr>
    <a:masterClrMapping/>
  </p:clrMapOvr>
  <p:transition spd="slow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, 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632325" y="3576638"/>
            <a:ext cx="4054476" cy="27289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632325" y="633413"/>
            <a:ext cx="4054476" cy="279717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/>
          </p:nvPr>
        </p:nvSpPr>
        <p:spPr>
          <a:xfrm>
            <a:off x="581025" y="633413"/>
            <a:ext cx="3922713" cy="27971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/>
          </p:nvPr>
        </p:nvSpPr>
        <p:spPr>
          <a:xfrm>
            <a:off x="589091" y="3576638"/>
            <a:ext cx="3917822" cy="27241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28"/>
          <p:cNvSpPr>
            <a:spLocks noGrp="1" noChangeArrowheads="1"/>
          </p:cNvSpPr>
          <p:nvPr>
            <p:ph type="sldNum" sz="quarter" idx="20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8EF1575D-645D-4E89-89D3-3052A35D37A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407794"/>
      </p:ext>
    </p:extLst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Images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0"/>
          <p:cNvSpPr>
            <a:spLocks noChangeArrowheads="1"/>
          </p:cNvSpPr>
          <p:nvPr userDrawn="1"/>
        </p:nvSpPr>
        <p:spPr bwMode="auto">
          <a:xfrm>
            <a:off x="6934200" y="6019800"/>
            <a:ext cx="1828800" cy="809625"/>
          </a:xfrm>
          <a:prstGeom prst="rect">
            <a:avLst/>
          </a:prstGeom>
          <a:solidFill>
            <a:srgbClr val="0079C1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en-US" altLang="en-US" sz="2800" b="1" dirty="0">
              <a:solidFill>
                <a:srgbClr val="0079C1"/>
              </a:solidFill>
            </a:endParaRPr>
          </a:p>
        </p:txBody>
      </p:sp>
      <p:pic>
        <p:nvPicPr>
          <p:cNvPr id="14" name="Picture 15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811963" y="131763"/>
            <a:ext cx="1828800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93729" y="1337797"/>
            <a:ext cx="8043863" cy="52322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9" y="4851162"/>
            <a:ext cx="8043863" cy="503238"/>
          </a:xfrm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698500" y="2971800"/>
            <a:ext cx="2171700" cy="1714500"/>
          </a:xfrm>
        </p:spPr>
        <p:txBody>
          <a:bodyPr/>
          <a:lstStyle>
            <a:lvl1pPr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3092450" y="2971800"/>
            <a:ext cx="2171700" cy="1714500"/>
          </a:xfrm>
        </p:spPr>
        <p:txBody>
          <a:bodyPr/>
          <a:lstStyle>
            <a:lvl1pPr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5486400" y="2971800"/>
            <a:ext cx="2171700" cy="1714500"/>
          </a:xfrm>
        </p:spPr>
        <p:txBody>
          <a:bodyPr/>
          <a:lstStyle>
            <a:lvl1pPr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3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B852F53-F7BD-4783-B878-347128B5FE8C}" type="slidenum">
              <a:rPr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67530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hart (Top), 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581024" y="633413"/>
            <a:ext cx="8105776" cy="27924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581025" y="3576638"/>
            <a:ext cx="3929063" cy="27289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4638675" y="3576638"/>
            <a:ext cx="4048126" cy="27289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 marL="182880" indent="-182880">
              <a:buSzPct val="100000"/>
              <a:buFont typeface="Arial" pitchFamily="34" charset="0"/>
              <a:buChar char="●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20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74F8400F-3ECA-4A2F-B70D-88006B615D4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504911"/>
      </p:ext>
    </p:extLst>
  </p:cSld>
  <p:clrMapOvr>
    <a:masterClrMapping/>
  </p:clrMapOvr>
  <p:transition spd="slow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hart (Top), 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LOGO_NG_HWHFY_PMS300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34938" y="6505575"/>
            <a:ext cx="1016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"/>
          <p:cNvSpPr/>
          <p:nvPr userDrawn="1"/>
        </p:nvSpPr>
        <p:spPr>
          <a:xfrm>
            <a:off x="0" y="0"/>
            <a:ext cx="9144000" cy="957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DD18B5D7-ACCE-4344-8DC5-89F628DF03C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999200"/>
      </p:ext>
    </p:extLst>
  </p:cSld>
  <p:clrMapOvr>
    <a:masterClrMapping/>
  </p:clrMapOvr>
  <p:transition spd="slow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Page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4944" y="813816"/>
            <a:ext cx="7936992" cy="5394960"/>
          </a:xfrm>
        </p:spPr>
        <p:txBody>
          <a:bodyPr/>
          <a:lstStyle>
            <a:lvl5pPr>
              <a:defRPr/>
            </a:lvl5pPr>
            <a:lvl6pPr marL="914400">
              <a:defRPr/>
            </a:lvl6pPr>
            <a:lvl7pPr marL="1143000">
              <a:defRPr/>
            </a:lvl7pPr>
            <a:lvl8pPr marL="1371600">
              <a:defRPr/>
            </a:lvl8pPr>
            <a:lvl9pPr marL="1600200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85800" y="-1019556"/>
            <a:ext cx="2286000" cy="219456"/>
          </a:xfrm>
        </p:spPr>
        <p:txBody>
          <a:bodyPr lIns="18288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0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986B8634-3C00-4F13-8DC5-B49C9A340D1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209952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-3175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11" descr="117008864rev_retouched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-3175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/>
        </p:nvCxnSpPr>
        <p:spPr>
          <a:xfrm flipV="1">
            <a:off x="2043113" y="1300163"/>
            <a:ext cx="0" cy="4573587"/>
          </a:xfrm>
          <a:prstGeom prst="line">
            <a:avLst/>
          </a:prstGeom>
          <a:ln>
            <a:solidFill>
              <a:srgbClr val="0079C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7" descr="LOGO_NG_HWHFY_PMS300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6858000" y="368300"/>
            <a:ext cx="1828800" cy="5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12"/>
          <p:cNvCxnSpPr/>
          <p:nvPr userDrawn="1"/>
        </p:nvCxnSpPr>
        <p:spPr>
          <a:xfrm>
            <a:off x="576263" y="1079500"/>
            <a:ext cx="8067675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155396" y="2092232"/>
            <a:ext cx="5434442" cy="3552825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0"/>
              </a:spcBef>
              <a:buClr>
                <a:srgbClr val="0079C1"/>
              </a:buClr>
              <a:buFont typeface="+mj-lt"/>
              <a:buAutoNum type="romanUcPeriod"/>
              <a:tabLst>
                <a:tab pos="6400800" algn="l"/>
              </a:tabLst>
              <a:defRPr sz="1600" b="0">
                <a:solidFill>
                  <a:schemeClr val="tx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0"/>
              </a:spcBef>
              <a:buClr>
                <a:srgbClr val="0079C1"/>
              </a:buClr>
              <a:buFont typeface="Arial" pitchFamily="34" charset="0"/>
              <a:buChar char="●"/>
              <a:tabLst>
                <a:tab pos="6400800" algn="l"/>
              </a:tabLst>
              <a:defRPr sz="1400" b="0" baseline="0">
                <a:solidFill>
                  <a:schemeClr val="tx1"/>
                </a:solidFill>
              </a:defRPr>
            </a:lvl2pPr>
            <a:lvl3pPr marL="822960" indent="-274320" defTabSz="914400">
              <a:lnSpc>
                <a:spcPct val="100000"/>
              </a:lnSpc>
              <a:spcBef>
                <a:spcPts val="0"/>
              </a:spcBef>
              <a:buClr>
                <a:srgbClr val="0079C1"/>
              </a:buClr>
              <a:buSzPct val="100000"/>
              <a:buFont typeface="+mj-lt"/>
              <a:buAutoNum type="alphaLcPeriod"/>
              <a:tabLst>
                <a:tab pos="6400800" algn="l"/>
              </a:tabLst>
              <a:defRPr sz="1400" b="0" baseline="0">
                <a:solidFill>
                  <a:schemeClr val="tx1"/>
                </a:solidFill>
              </a:defRPr>
            </a:lvl3pPr>
            <a:lvl4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Font typeface="+mj-lt"/>
              <a:buAutoNum type="alphaLcPeriod"/>
              <a:tabLst>
                <a:tab pos="6400800" algn="l"/>
              </a:tabLst>
              <a:defRPr sz="1600">
                <a:solidFill>
                  <a:srgbClr val="4F8ABE"/>
                </a:solidFill>
              </a:defRPr>
            </a:lvl4pPr>
            <a:lvl5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Font typeface="+mj-lt"/>
              <a:buAutoNum type="alphaLcPeriod"/>
              <a:tabLst>
                <a:tab pos="6400800" algn="l"/>
              </a:tabLst>
              <a:defRPr sz="1600">
                <a:solidFill>
                  <a:srgbClr val="4F8ABE"/>
                </a:solidFill>
              </a:defRPr>
            </a:lvl5pPr>
            <a:lvl6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Font typeface="+mj-lt"/>
              <a:buAutoNum type="alphaLcPeriod"/>
              <a:defRPr sz="1600">
                <a:solidFill>
                  <a:srgbClr val="4F779C"/>
                </a:solidFill>
              </a:defRPr>
            </a:lvl6pPr>
            <a:lvl7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Font typeface="+mj-lt"/>
              <a:buAutoNum type="alphaLcPeriod"/>
              <a:tabLst/>
              <a:defRPr sz="1600">
                <a:solidFill>
                  <a:srgbClr val="4F779C"/>
                </a:solidFill>
              </a:defRPr>
            </a:lvl7pPr>
            <a:lvl8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SzPct val="100000"/>
              <a:buFont typeface="+mj-lt"/>
              <a:buAutoNum type="alphaLcPeriod"/>
              <a:defRPr sz="1600">
                <a:solidFill>
                  <a:srgbClr val="4F779C"/>
                </a:solidFill>
              </a:defRPr>
            </a:lvl8pPr>
            <a:lvl9pPr marL="1257300" indent="-342900" defTabSz="914400">
              <a:lnSpc>
                <a:spcPct val="100000"/>
              </a:lnSpc>
              <a:spcBef>
                <a:spcPts val="300"/>
              </a:spcBef>
              <a:buClr>
                <a:srgbClr val="4F779C"/>
              </a:buClr>
              <a:buSzPct val="100000"/>
              <a:buFont typeface="+mj-lt"/>
              <a:buAutoNum type="alphaLcPeriod"/>
              <a:defRPr sz="1600">
                <a:solidFill>
                  <a:srgbClr val="4F779C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155396" y="1353580"/>
            <a:ext cx="5434442" cy="524193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2400" b="1" baseline="0">
                <a:solidFill>
                  <a:srgbClr val="0079C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7080116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849313"/>
            <a:ext cx="9144000" cy="2217737"/>
          </a:xfrm>
          <a:prstGeom prst="rect">
            <a:avLst/>
          </a:prstGeom>
          <a:solidFill>
            <a:srgbClr val="0079C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/>
          <p:nvPr userDrawn="1"/>
        </p:nvSpPr>
        <p:spPr>
          <a:xfrm>
            <a:off x="6534150" y="849313"/>
            <a:ext cx="2609850" cy="2293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6" name="Picture 7" descr="LOGO_NG_HWHFY_PMS300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911975" y="1706563"/>
            <a:ext cx="1828800" cy="5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Rectangle 41"/>
          <p:cNvSpPr>
            <a:spLocks noGrp="1" noChangeArrowheads="1"/>
          </p:cNvSpPr>
          <p:nvPr>
            <p:ph type="ctrTitle" sz="quarter"/>
          </p:nvPr>
        </p:nvSpPr>
        <p:spPr>
          <a:xfrm>
            <a:off x="566738" y="1510302"/>
            <a:ext cx="5883276" cy="1556723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100000"/>
              </a:lnSpc>
              <a:spcBef>
                <a:spcPts val="0"/>
              </a:spcBef>
              <a:defRPr sz="3600" b="1" cap="none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2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FBBF55B5-9C0E-472B-A686-CB68408CF0C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5767999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LOGO_NG_HWHFY_PMS300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440613" y="247650"/>
            <a:ext cx="122396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10"/>
          <p:cNvCxnSpPr/>
          <p:nvPr userDrawn="1"/>
        </p:nvCxnSpPr>
        <p:spPr>
          <a:xfrm>
            <a:off x="576263" y="1079500"/>
            <a:ext cx="8067675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81025" y="1203324"/>
            <a:ext cx="8105775" cy="509320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b="1">
                <a:solidFill>
                  <a:srgbClr val="000000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79C1"/>
              </a:buClr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79C1"/>
              </a:buClr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79C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b="1" cap="none" baseline="0">
                <a:solidFill>
                  <a:srgbClr val="0079C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81025" y="629284"/>
            <a:ext cx="7968615" cy="41997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 baseline="0">
                <a:solidFill>
                  <a:srgbClr val="00355F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28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52626249-DC1D-48E9-A3D7-2373C5EDF21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41693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in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/>
          <p:nvPr userDrawn="1"/>
        </p:nvCxnSpPr>
        <p:spPr>
          <a:xfrm>
            <a:off x="576263" y="1228725"/>
            <a:ext cx="8067675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81025" y="1357314"/>
            <a:ext cx="8105775" cy="49392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b="1">
                <a:solidFill>
                  <a:srgbClr val="000000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9C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81025" y="545045"/>
            <a:ext cx="7968615" cy="648754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1">
                <a:solidFill>
                  <a:srgbClr val="00355F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1">
                <a:solidFill>
                  <a:srgbClr val="00355F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1">
                <a:solidFill>
                  <a:srgbClr val="00355F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1">
                <a:solidFill>
                  <a:srgbClr val="00355F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28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417BEDFA-7C69-40AF-95AD-68DF624ABC4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043182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7"/>
          <p:cNvCxnSpPr/>
          <p:nvPr userDrawn="1"/>
        </p:nvCxnSpPr>
        <p:spPr>
          <a:xfrm>
            <a:off x="576263" y="841375"/>
            <a:ext cx="8067675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81024" y="854074"/>
            <a:ext cx="8105776" cy="544245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b="1">
                <a:solidFill>
                  <a:srgbClr val="000000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9C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506791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Colums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9"/>
          <p:cNvCxnSpPr/>
          <p:nvPr userDrawn="1"/>
        </p:nvCxnSpPr>
        <p:spPr>
          <a:xfrm>
            <a:off x="576263" y="1079500"/>
            <a:ext cx="8067675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788" y="152570"/>
            <a:ext cx="8101012" cy="3841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79C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581025" y="1202302"/>
            <a:ext cx="3922713" cy="50817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4632325" y="1202302"/>
            <a:ext cx="4054475" cy="508173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81025" y="623454"/>
            <a:ext cx="7968615" cy="41997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 baseline="0">
                <a:solidFill>
                  <a:srgbClr val="00355F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0" i="1">
                <a:solidFill>
                  <a:srgbClr val="00355F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rgbClr val="00355F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5607988"/>
      </p:ext>
    </p:extLst>
  </p:cSld>
  <p:clrMapOvr>
    <a:masterClrMapping/>
  </p:clrMapOvr>
  <p:transition spd="slow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dth_subhead lef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7"/>
          <p:cNvSpPr>
            <a:spLocks noChangeShapeType="1"/>
          </p:cNvSpPr>
          <p:nvPr/>
        </p:nvSpPr>
        <p:spPr bwMode="auto">
          <a:xfrm rot="5400000">
            <a:off x="-349250" y="3475038"/>
            <a:ext cx="5581650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/>
        </p:spPr>
        <p:txBody>
          <a:bodyPr lIns="72000" tIns="72000" rIns="72000" bIns="7200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ea typeface="ＭＳ Ｐゴシック" charset="0"/>
            </a:endParaRPr>
          </a:p>
        </p:txBody>
      </p:sp>
      <p:cxnSp>
        <p:nvCxnSpPr>
          <p:cNvPr id="6" name="Straight Connector 7"/>
          <p:cNvCxnSpPr/>
          <p:nvPr userDrawn="1"/>
        </p:nvCxnSpPr>
        <p:spPr>
          <a:xfrm>
            <a:off x="576263" y="841375"/>
            <a:ext cx="8067675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581024" y="854075"/>
            <a:ext cx="1761484" cy="5475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527442" y="854075"/>
            <a:ext cx="6159358" cy="5475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28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8467725" y="6461125"/>
            <a:ext cx="4572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5E8AB4"/>
                </a:solidFill>
                <a:latin typeface="+mn-lt"/>
              </a:defRPr>
            </a:lvl1pPr>
          </a:lstStyle>
          <a:p>
            <a:pPr>
              <a:defRPr/>
            </a:pPr>
            <a:fld id="{2052AA1D-8305-483E-9BC5-59B43626F17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5385373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02.xml"/><Relationship Id="rId19" Type="http://schemas.openxmlformats.org/officeDocument/2006/relationships/image" Target="../media/image5.jpeg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2.xml"/><Relationship Id="rId18" Type="http://schemas.openxmlformats.org/officeDocument/2006/relationships/theme" Target="../theme/theme11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11.xml"/><Relationship Id="rId16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4.xml"/><Relationship Id="rId10" Type="http://schemas.openxmlformats.org/officeDocument/2006/relationships/slideLayout" Target="../slideLayouts/slideLayout119.xml"/><Relationship Id="rId19" Type="http://schemas.openxmlformats.org/officeDocument/2006/relationships/image" Target="../media/image5.jpeg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3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Relationship Id="rId14" Type="http://schemas.openxmlformats.org/officeDocument/2006/relationships/image" Target="../media/image12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image" Target="../media/image4.wmf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0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13" Type="http://schemas.openxmlformats.org/officeDocument/2006/relationships/slideLayout" Target="../slideLayouts/slideLayout161.xml"/><Relationship Id="rId18" Type="http://schemas.openxmlformats.org/officeDocument/2006/relationships/oleObject" Target="../embeddings/oleObject19.bin"/><Relationship Id="rId3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60.xml"/><Relationship Id="rId17" Type="http://schemas.openxmlformats.org/officeDocument/2006/relationships/tags" Target="../tags/tag19.xml"/><Relationship Id="rId2" Type="http://schemas.openxmlformats.org/officeDocument/2006/relationships/slideLayout" Target="../slideLayouts/slideLayout150.xml"/><Relationship Id="rId16" Type="http://schemas.openxmlformats.org/officeDocument/2006/relationships/vmlDrawing" Target="../drawings/vmlDrawing19.vml"/><Relationship Id="rId20" Type="http://schemas.openxmlformats.org/officeDocument/2006/relationships/image" Target="../media/image4.wmf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slideLayout" Target="../slideLayouts/slideLayout159.xml"/><Relationship Id="rId5" Type="http://schemas.openxmlformats.org/officeDocument/2006/relationships/slideLayout" Target="../slideLayouts/slideLayout153.xml"/><Relationship Id="rId15" Type="http://schemas.openxmlformats.org/officeDocument/2006/relationships/theme" Target="../theme/theme14.xml"/><Relationship Id="rId10" Type="http://schemas.openxmlformats.org/officeDocument/2006/relationships/slideLayout" Target="../slideLayouts/slideLayout158.xml"/><Relationship Id="rId19" Type="http://schemas.openxmlformats.org/officeDocument/2006/relationships/image" Target="../media/image13.emf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Relationship Id="rId14" Type="http://schemas.openxmlformats.org/officeDocument/2006/relationships/slideLayout" Target="../slideLayouts/slideLayout16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67.xml"/><Relationship Id="rId15" Type="http://schemas.openxmlformats.org/officeDocument/2006/relationships/image" Target="../media/image16.jpeg"/><Relationship Id="rId10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image" Target="../media/image15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image" Target="../media/image4.wmf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image" Target="../media/image4.wmf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slideLayout" Target="../slideLayouts/slideLayout195.xml"/><Relationship Id="rId5" Type="http://schemas.openxmlformats.org/officeDocument/2006/relationships/slideLayout" Target="../slideLayouts/slideLayout189.xml"/><Relationship Id="rId10" Type="http://schemas.openxmlformats.org/officeDocument/2006/relationships/slideLayout" Target="../slideLayouts/slideLayout194.xml"/><Relationship Id="rId4" Type="http://schemas.openxmlformats.org/officeDocument/2006/relationships/slideLayout" Target="../slideLayouts/slideLayout188.xml"/><Relationship Id="rId9" Type="http://schemas.openxmlformats.org/officeDocument/2006/relationships/slideLayout" Target="../slideLayouts/slideLayout193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3.xml"/><Relationship Id="rId13" Type="http://schemas.openxmlformats.org/officeDocument/2006/relationships/theme" Target="../theme/theme18.xml"/><Relationship Id="rId18" Type="http://schemas.openxmlformats.org/officeDocument/2006/relationships/image" Target="../media/image4.wmf"/><Relationship Id="rId3" Type="http://schemas.openxmlformats.org/officeDocument/2006/relationships/slideLayout" Target="../slideLayouts/slideLayout198.xml"/><Relationship Id="rId7" Type="http://schemas.openxmlformats.org/officeDocument/2006/relationships/slideLayout" Target="../slideLayouts/slideLayout202.xml"/><Relationship Id="rId12" Type="http://schemas.openxmlformats.org/officeDocument/2006/relationships/slideLayout" Target="../slideLayouts/slideLayout20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97.xml"/><Relationship Id="rId16" Type="http://schemas.openxmlformats.org/officeDocument/2006/relationships/oleObject" Target="../embeddings/oleObject20.bin"/><Relationship Id="rId1" Type="http://schemas.openxmlformats.org/officeDocument/2006/relationships/slideLayout" Target="../slideLayouts/slideLayout196.xml"/><Relationship Id="rId6" Type="http://schemas.openxmlformats.org/officeDocument/2006/relationships/slideLayout" Target="../slideLayouts/slideLayout201.xml"/><Relationship Id="rId11" Type="http://schemas.openxmlformats.org/officeDocument/2006/relationships/slideLayout" Target="../slideLayouts/slideLayout206.xml"/><Relationship Id="rId5" Type="http://schemas.openxmlformats.org/officeDocument/2006/relationships/slideLayout" Target="../slideLayouts/slideLayout200.xml"/><Relationship Id="rId15" Type="http://schemas.openxmlformats.org/officeDocument/2006/relationships/tags" Target="../tags/tag20.xml"/><Relationship Id="rId10" Type="http://schemas.openxmlformats.org/officeDocument/2006/relationships/slideLayout" Target="../slideLayouts/slideLayout205.xml"/><Relationship Id="rId4" Type="http://schemas.openxmlformats.org/officeDocument/2006/relationships/slideLayout" Target="../slideLayouts/slideLayout199.xml"/><Relationship Id="rId9" Type="http://schemas.openxmlformats.org/officeDocument/2006/relationships/slideLayout" Target="../slideLayouts/slideLayout204.xml"/><Relationship Id="rId14" Type="http://schemas.openxmlformats.org/officeDocument/2006/relationships/vmlDrawing" Target="../drawings/vmlDrawing20.v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5.xml"/><Relationship Id="rId13" Type="http://schemas.openxmlformats.org/officeDocument/2006/relationships/vmlDrawing" Target="../drawings/vmlDrawing21.vml"/><Relationship Id="rId3" Type="http://schemas.openxmlformats.org/officeDocument/2006/relationships/slideLayout" Target="../slideLayouts/slideLayout210.xml"/><Relationship Id="rId7" Type="http://schemas.openxmlformats.org/officeDocument/2006/relationships/slideLayout" Target="../slideLayouts/slideLayout214.xml"/><Relationship Id="rId12" Type="http://schemas.openxmlformats.org/officeDocument/2006/relationships/theme" Target="../theme/theme19.xml"/><Relationship Id="rId17" Type="http://schemas.openxmlformats.org/officeDocument/2006/relationships/image" Target="../media/image4.wmf"/><Relationship Id="rId2" Type="http://schemas.openxmlformats.org/officeDocument/2006/relationships/slideLayout" Target="../slideLayouts/slideLayout20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slideLayout" Target="../slideLayouts/slideLayout218.xml"/><Relationship Id="rId5" Type="http://schemas.openxmlformats.org/officeDocument/2006/relationships/slideLayout" Target="../slideLayouts/slideLayout212.xml"/><Relationship Id="rId15" Type="http://schemas.openxmlformats.org/officeDocument/2006/relationships/oleObject" Target="../embeddings/oleObject21.bin"/><Relationship Id="rId10" Type="http://schemas.openxmlformats.org/officeDocument/2006/relationships/slideLayout" Target="../slideLayouts/slideLayout217.xml"/><Relationship Id="rId4" Type="http://schemas.openxmlformats.org/officeDocument/2006/relationships/slideLayout" Target="../slideLayouts/slideLayout211.xml"/><Relationship Id="rId9" Type="http://schemas.openxmlformats.org/officeDocument/2006/relationships/slideLayout" Target="../slideLayouts/slideLayout216.xml"/><Relationship Id="rId14" Type="http://schemas.openxmlformats.org/officeDocument/2006/relationships/tags" Target="../tags/tag2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.vml"/><Relationship Id="rId7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oleObject" Target="../embeddings/oleObject7.bin"/><Relationship Id="rId5" Type="http://schemas.openxmlformats.org/officeDocument/2006/relationships/slideLayout" Target="../slideLayouts/slideLayout12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11.xml"/><Relationship Id="rId9" Type="http://schemas.openxmlformats.org/officeDocument/2006/relationships/vmlDrawing" Target="../drawings/vmlDrawing7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4.wmf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4.wmf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oleObject" Target="../embeddings/oleObject15.bin"/><Relationship Id="rId5" Type="http://schemas.openxmlformats.org/officeDocument/2006/relationships/slideLayout" Target="../slideLayouts/slideLayout41.xml"/><Relationship Id="rId10" Type="http://schemas.openxmlformats.org/officeDocument/2006/relationships/tags" Target="../tags/tag15.xml"/><Relationship Id="rId4" Type="http://schemas.openxmlformats.org/officeDocument/2006/relationships/slideLayout" Target="../slideLayouts/slideLayout40.xml"/><Relationship Id="rId9" Type="http://schemas.openxmlformats.org/officeDocument/2006/relationships/vmlDrawing" Target="../drawings/vmlDrawing15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53.xml"/><Relationship Id="rId19" Type="http://schemas.openxmlformats.org/officeDocument/2006/relationships/image" Target="../media/image5.jpeg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62.xml"/><Relationship Id="rId16" Type="http://schemas.openxmlformats.org/officeDocument/2006/relationships/theme" Target="../theme/theme8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theme" Target="../theme/theme9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85.xml"/><Relationship Id="rId19" Type="http://schemas.openxmlformats.org/officeDocument/2006/relationships/image" Target="../media/image5.jpeg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7" name="Object 23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80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355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</a:defRPr>
            </a:lvl1pPr>
          </a:lstStyle>
          <a:p>
            <a:endParaRPr lang="en-US" altLang="en-US" dirty="0"/>
          </a:p>
        </p:txBody>
      </p:sp>
      <p:sp>
        <p:nvSpPr>
          <p:cNvPr id="10035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46424" y="6556835"/>
            <a:ext cx="795528" cy="256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algn="r" defTabSz="914400" rtl="0" eaLnBrk="1" latinLnBrk="0" hangingPunct="1">
              <a:defRPr lang="en-US" altLang="en-US" sz="1200" kern="1200" smtClean="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1pPr>
          </a:lstStyle>
          <a:p>
            <a:fld id="{1C41F466-472F-46E0-91C2-C775F7BD3860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700088" y="1382713"/>
            <a:ext cx="7999412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2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881003"/>
            <a:ext cx="809307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485900"/>
            <a:ext cx="80899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" name="TextBox 8"/>
          <p:cNvSpPr txBox="1">
            <a:spLocks noChangeArrowheads="1"/>
          </p:cNvSpPr>
          <p:nvPr/>
        </p:nvSpPr>
        <p:spPr bwMode="auto">
          <a:xfrm>
            <a:off x="3024180" y="0"/>
            <a:ext cx="2667000" cy="2460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US" sz="1000" b="1" i="1" dirty="0">
                <a:solidFill>
                  <a:schemeClr val="bg2"/>
                </a:solidFill>
                <a:cs typeface="+mn-cs"/>
              </a:rPr>
              <a:t>Confidential: Not for Distribution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963" y="132221"/>
            <a:ext cx="1828800" cy="58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231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3" r:id="rId1"/>
    <p:sldLayoutId id="2147484224" r:id="rId2"/>
    <p:sldLayoutId id="2147484225" r:id="rId3"/>
    <p:sldLayoutId id="2147484226" r:id="rId4"/>
    <p:sldLayoutId id="2147484227" r:id="rId5"/>
    <p:sldLayoutId id="2147484228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9C1"/>
          </a:solidFill>
          <a:latin typeface="+mj-lt"/>
          <a:ea typeface="ＭＳ Ｐゴシック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400">
          <a:solidFill>
            <a:schemeClr val="tx2"/>
          </a:solidFill>
          <a:latin typeface="+mn-lt"/>
          <a:ea typeface="ＭＳ Ｐゴシック"/>
          <a:cs typeface="ＭＳ Ｐゴシック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ＭＳ Ｐゴシック"/>
          <a:cs typeface="ＭＳ Ｐゴシック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ＭＳ Ｐゴシック"/>
          <a:cs typeface="ＭＳ Ｐゴシック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chemeClr val="tx2"/>
          </a:solidFill>
          <a:latin typeface="+mn-lt"/>
          <a:ea typeface="ＭＳ Ｐゴシック"/>
          <a:cs typeface="ＭＳ Ｐゴシック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ＭＳ Ｐゴシック"/>
          <a:cs typeface="ＭＳ Ｐゴシック"/>
        </a:defRPr>
      </a:lvl5pPr>
      <a:lvl6pPr marL="25146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idx="1"/>
          </p:nvPr>
        </p:nvSpPr>
        <p:spPr>
          <a:xfrm>
            <a:off x="577850" y="823913"/>
            <a:ext cx="8108950" cy="54816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 (arial-bold-14pt)</a:t>
            </a:r>
          </a:p>
          <a:p>
            <a:pPr lvl="1"/>
            <a:r>
              <a:rPr lang="en-US" dirty="0"/>
              <a:t>Second level (Arial-12pt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</p:txBody>
      </p:sp>
      <p:sp>
        <p:nvSpPr>
          <p:cNvPr id="1027" name="Rectangle 17" descr="Title goes here: Helvetica 24"/>
          <p:cNvSpPr>
            <a:spLocks noGrp="1" noChangeArrowheads="1"/>
          </p:cNvSpPr>
          <p:nvPr>
            <p:ph type="title"/>
          </p:nvPr>
        </p:nvSpPr>
        <p:spPr bwMode="auto">
          <a:xfrm>
            <a:off x="581025" y="152400"/>
            <a:ext cx="8105775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TITLE SUBHEAD (Make subhead black font bold)</a:t>
            </a:r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0" y="6457950"/>
            <a:ext cx="9144000" cy="0"/>
          </a:xfrm>
          <a:prstGeom prst="line">
            <a:avLst/>
          </a:prstGeom>
          <a:ln w="19050">
            <a:solidFill>
              <a:srgbClr val="0079C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9" name="Picture 7" descr="LOGO_NG_HWHFY_PMS300"/>
          <p:cNvPicPr>
            <a:picLocks noChangeAspect="1" noChangeArrowheads="1"/>
          </p:cNvPicPr>
          <p:nvPr userDrawn="1"/>
        </p:nvPicPr>
        <p:blipFill>
          <a:blip r:embed="rId19"/>
          <a:srcRect/>
          <a:stretch>
            <a:fillRect/>
          </a:stretch>
        </p:blipFill>
        <p:spPr bwMode="auto">
          <a:xfrm>
            <a:off x="7440613" y="247650"/>
            <a:ext cx="122396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36502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2" r:id="rId1"/>
    <p:sldLayoutId id="2147484353" r:id="rId2"/>
    <p:sldLayoutId id="2147484354" r:id="rId3"/>
    <p:sldLayoutId id="2147484355" r:id="rId4"/>
    <p:sldLayoutId id="2147484356" r:id="rId5"/>
    <p:sldLayoutId id="2147484357" r:id="rId6"/>
    <p:sldLayoutId id="2147484358" r:id="rId7"/>
    <p:sldLayoutId id="2147484359" r:id="rId8"/>
    <p:sldLayoutId id="2147484360" r:id="rId9"/>
    <p:sldLayoutId id="2147484361" r:id="rId10"/>
    <p:sldLayoutId id="2147484362" r:id="rId11"/>
    <p:sldLayoutId id="2147484363" r:id="rId12"/>
    <p:sldLayoutId id="2147484364" r:id="rId13"/>
    <p:sldLayoutId id="2147484365" r:id="rId14"/>
    <p:sldLayoutId id="2147484366" r:id="rId15"/>
    <p:sldLayoutId id="2147484367" r:id="rId16"/>
    <p:sldLayoutId id="2147484368" r:id="rId1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2000" b="1" kern="1200" dirty="0">
          <a:solidFill>
            <a:srgbClr val="0079C1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9C1"/>
          </a:solidFill>
          <a:latin typeface="Arial" charset="0"/>
          <a:ea typeface="ＭＳ Ｐゴシック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9C1"/>
          </a:solidFill>
          <a:latin typeface="Arial" charset="0"/>
          <a:ea typeface="ＭＳ Ｐゴシック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9C1"/>
          </a:solidFill>
          <a:latin typeface="Arial" charset="0"/>
          <a:ea typeface="ＭＳ Ｐゴシック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9C1"/>
          </a:solidFill>
          <a:latin typeface="Arial" charset="0"/>
          <a:ea typeface="ＭＳ Ｐゴシック" charset="0"/>
          <a:cs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ts val="300"/>
        </a:spcAft>
        <a:buFont typeface="Arial" charset="0"/>
        <a:defRPr sz="1400" b="1" kern="1200">
          <a:solidFill>
            <a:srgbClr val="00355F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0"/>
        </a:spcBef>
        <a:spcAft>
          <a:spcPts val="300"/>
        </a:spcAft>
        <a:buFont typeface="Arial" charset="0"/>
        <a:defRPr sz="1400" b="1" kern="1200">
          <a:solidFill>
            <a:srgbClr val="000000"/>
          </a:solidFill>
          <a:latin typeface="+mn-lt"/>
          <a:ea typeface="ＭＳ Ｐゴシック" charset="0"/>
          <a:cs typeface="ＭＳ Ｐゴシック"/>
        </a:defRPr>
      </a:lvl2pPr>
      <a:lvl3pPr marL="182563" indent="-182563" algn="l" rtl="0" eaLnBrk="0" fontAlgn="base" hangingPunct="0">
        <a:spcBef>
          <a:spcPct val="0"/>
        </a:spcBef>
        <a:spcAft>
          <a:spcPts val="300"/>
        </a:spcAft>
        <a:buClr>
          <a:srgbClr val="0079C1"/>
        </a:buClr>
        <a:buSzPct val="100000"/>
        <a:buFont typeface="Arial" charset="0"/>
        <a:buChar char="●"/>
        <a:defRPr sz="14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3pPr>
      <a:lvl4pPr marL="457200" indent="-228600" algn="l" rtl="0" eaLnBrk="0" fontAlgn="base" hangingPunct="0">
        <a:spcBef>
          <a:spcPct val="0"/>
        </a:spcBef>
        <a:spcAft>
          <a:spcPts val="300"/>
        </a:spcAft>
        <a:buClr>
          <a:srgbClr val="0079C1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4pPr>
      <a:lvl5pPr marL="685800" indent="-228600" algn="l" rtl="0" eaLnBrk="0" fontAlgn="base" hangingPunct="0">
        <a:spcBef>
          <a:spcPct val="0"/>
        </a:spcBef>
        <a:spcAft>
          <a:spcPts val="300"/>
        </a:spcAft>
        <a:buClr>
          <a:srgbClr val="0079C1"/>
        </a:buClr>
        <a:buSzPct val="125000"/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5pPr>
      <a:lvl6pPr marL="914400" indent="-228600" algn="l" defTabSz="914400" rtl="0" eaLnBrk="1" latinLnBrk="0" hangingPunct="1">
        <a:spcBef>
          <a:spcPts val="0"/>
        </a:spcBef>
        <a:spcAft>
          <a:spcPts val="300"/>
        </a:spcAft>
        <a:buClr>
          <a:srgbClr val="0079C1"/>
        </a:buClr>
        <a:buFont typeface="Courier New" pitchFamily="49" charset="0"/>
        <a:buChar char="o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914400" rtl="0" eaLnBrk="1" latinLnBrk="0" hangingPunct="1">
        <a:spcBef>
          <a:spcPts val="0"/>
        </a:spcBef>
        <a:spcAft>
          <a:spcPts val="300"/>
        </a:spcAft>
        <a:buClr>
          <a:srgbClr val="0079C1"/>
        </a:buClr>
        <a:buSzPct val="75000"/>
        <a:buFont typeface="Wingdings" pitchFamily="2" charset="2"/>
        <a:buChar char="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rgbClr val="0079C1"/>
        </a:buClr>
        <a:buSzPct val="75000"/>
        <a:buFont typeface="Wingdings" pitchFamily="2" charset="2"/>
        <a:buChar char="q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idx="1"/>
          </p:nvPr>
        </p:nvSpPr>
        <p:spPr>
          <a:xfrm>
            <a:off x="577850" y="824622"/>
            <a:ext cx="8108950" cy="54809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 (arial-bold-14pt)</a:t>
            </a:r>
          </a:p>
          <a:p>
            <a:pPr lvl="1"/>
            <a:r>
              <a:rPr lang="en-US" dirty="0"/>
              <a:t>Second level (Arial-12pt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</p:txBody>
      </p:sp>
      <p:sp>
        <p:nvSpPr>
          <p:cNvPr id="17" name="Rectangle 17" descr="Title goes here: Helvetica 24"/>
          <p:cNvSpPr>
            <a:spLocks noGrp="1" noChangeArrowheads="1"/>
          </p:cNvSpPr>
          <p:nvPr>
            <p:ph type="title"/>
          </p:nvPr>
        </p:nvSpPr>
        <p:spPr bwMode="auto">
          <a:xfrm>
            <a:off x="581024" y="152570"/>
            <a:ext cx="8105775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TITLE SUBHEAD (Make subhead black font bold)</a:t>
            </a:r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0" y="6457950"/>
            <a:ext cx="9144000" cy="0"/>
          </a:xfrm>
          <a:prstGeom prst="line">
            <a:avLst/>
          </a:prstGeom>
          <a:ln w="19050">
            <a:solidFill>
              <a:srgbClr val="0079C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LOGO_NG_HWHFY_PMS300"/>
          <p:cNvPicPr>
            <a:picLocks noChangeAspect="1" noChangeArrowheads="1"/>
          </p:cNvPicPr>
          <p:nvPr userDrawn="1"/>
        </p:nvPicPr>
        <p:blipFill>
          <a:blip r:embed="rId19"/>
          <a:srcRect/>
          <a:stretch>
            <a:fillRect/>
          </a:stretch>
        </p:blipFill>
        <p:spPr bwMode="auto">
          <a:xfrm>
            <a:off x="7439876" y="246904"/>
            <a:ext cx="1224871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67031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0" r:id="rId1"/>
    <p:sldLayoutId id="2147484371" r:id="rId2"/>
    <p:sldLayoutId id="2147484372" r:id="rId3"/>
    <p:sldLayoutId id="2147484373" r:id="rId4"/>
    <p:sldLayoutId id="2147484374" r:id="rId5"/>
    <p:sldLayoutId id="2147484375" r:id="rId6"/>
    <p:sldLayoutId id="2147484376" r:id="rId7"/>
    <p:sldLayoutId id="2147484377" r:id="rId8"/>
    <p:sldLayoutId id="2147484378" r:id="rId9"/>
    <p:sldLayoutId id="2147484379" r:id="rId10"/>
    <p:sldLayoutId id="2147484380" r:id="rId11"/>
    <p:sldLayoutId id="2147484381" r:id="rId12"/>
    <p:sldLayoutId id="2147484382" r:id="rId13"/>
    <p:sldLayoutId id="2147484383" r:id="rId14"/>
    <p:sldLayoutId id="2147484384" r:id="rId15"/>
    <p:sldLayoutId id="2147484385" r:id="rId16"/>
    <p:sldLayoutId id="2147484386" r:id="rId1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US" sz="2000" b="1" kern="1200" cap="none" baseline="0" dirty="0">
          <a:solidFill>
            <a:srgbClr val="0079C1"/>
          </a:solidFill>
          <a:effectLst/>
          <a:latin typeface="Arial" pitchFamily="34" charset="0"/>
          <a:ea typeface="ＭＳ Ｐゴシック" charset="0"/>
          <a:cs typeface="Arial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9pPr>
    </p:titleStyle>
    <p:bodyStyle>
      <a:lvl1pPr algn="l" rtl="0" eaLnBrk="1" fontAlgn="base" hangingPunct="1">
        <a:spcBef>
          <a:spcPts val="0"/>
        </a:spcBef>
        <a:spcAft>
          <a:spcPts val="300"/>
        </a:spcAft>
        <a:buFont typeface="Arial" charset="0"/>
        <a:defRPr sz="1400" b="1" kern="1200">
          <a:solidFill>
            <a:srgbClr val="00355F"/>
          </a:solidFill>
          <a:latin typeface="+mn-lt"/>
          <a:ea typeface="ＭＳ Ｐゴシック" charset="0"/>
          <a:cs typeface="ＭＳ Ｐゴシック" charset="0"/>
        </a:defRPr>
      </a:lvl1pPr>
      <a:lvl2pPr algn="l" rtl="0" eaLnBrk="1" fontAlgn="base" hangingPunct="1">
        <a:spcBef>
          <a:spcPts val="0"/>
        </a:spcBef>
        <a:spcAft>
          <a:spcPts val="300"/>
        </a:spcAft>
        <a:buFont typeface="Arial" charset="0"/>
        <a:defRPr sz="1400" b="1" kern="1200">
          <a:solidFill>
            <a:srgbClr val="000000"/>
          </a:solidFill>
          <a:latin typeface="+mn-lt"/>
          <a:ea typeface="ＭＳ Ｐゴシック" charset="0"/>
          <a:cs typeface="+mn-cs"/>
        </a:defRPr>
      </a:lvl2pPr>
      <a:lvl3pPr marL="182563" indent="-182563" algn="l" rtl="0" eaLnBrk="1" fontAlgn="base" hangingPunct="1">
        <a:spcBef>
          <a:spcPts val="0"/>
        </a:spcBef>
        <a:spcAft>
          <a:spcPts val="300"/>
        </a:spcAft>
        <a:buClr>
          <a:srgbClr val="0079C1"/>
        </a:buClr>
        <a:buSzPct val="100000"/>
        <a:buFont typeface="Arial" charset="0"/>
        <a:buChar char="●"/>
        <a:defRPr sz="1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457200" indent="-228600" algn="l" rtl="0" eaLnBrk="1" fontAlgn="base" hangingPunct="1">
        <a:spcBef>
          <a:spcPts val="0"/>
        </a:spcBef>
        <a:spcAft>
          <a:spcPts val="300"/>
        </a:spcAft>
        <a:buClr>
          <a:srgbClr val="0079C1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685800" indent="-228600" algn="l" rtl="0" eaLnBrk="1" fontAlgn="base" hangingPunct="1">
        <a:spcBef>
          <a:spcPts val="0"/>
        </a:spcBef>
        <a:spcAft>
          <a:spcPts val="300"/>
        </a:spcAft>
        <a:buClr>
          <a:srgbClr val="0079C1"/>
        </a:buClr>
        <a:buSzPct val="125000"/>
        <a:buFont typeface="Wingdings" charset="0"/>
        <a:buChar char="§"/>
        <a:defRPr sz="14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914400" indent="-228600" algn="l" defTabSz="914400" rtl="0" eaLnBrk="1" latinLnBrk="0" hangingPunct="1">
        <a:spcBef>
          <a:spcPts val="0"/>
        </a:spcBef>
        <a:spcAft>
          <a:spcPts val="300"/>
        </a:spcAft>
        <a:buClr>
          <a:srgbClr val="0079C1"/>
        </a:buClr>
        <a:buFont typeface="Courier New" pitchFamily="49" charset="0"/>
        <a:buChar char="o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914400" rtl="0" eaLnBrk="1" latinLnBrk="0" hangingPunct="1">
        <a:spcBef>
          <a:spcPts val="0"/>
        </a:spcBef>
        <a:spcAft>
          <a:spcPts val="300"/>
        </a:spcAft>
        <a:buClr>
          <a:srgbClr val="0079C1"/>
        </a:buClr>
        <a:buSzPct val="75000"/>
        <a:buFont typeface="Wingdings" pitchFamily="2" charset="2"/>
        <a:buChar char="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rgbClr val="0079C1"/>
        </a:buClr>
        <a:buSzPct val="75000"/>
        <a:buFont typeface="Wingdings" pitchFamily="2" charset="2"/>
        <a:buChar char="q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long_powerstrips.gif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6400800"/>
            <a:ext cx="9144000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/>
        </p:nvSpPr>
        <p:spPr>
          <a:xfrm>
            <a:off x="0" y="0"/>
            <a:ext cx="9144000" cy="782638"/>
          </a:xfrm>
          <a:prstGeom prst="rect">
            <a:avLst/>
          </a:prstGeom>
          <a:solidFill>
            <a:srgbClr val="1E1160"/>
          </a:solidFill>
          <a:ln>
            <a:solidFill>
              <a:srgbClr val="1E11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40" tIns="45667" rIns="91340" bIns="45667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340" name="Picture 6" descr="NationalGrid logo.gif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629400" y="228600"/>
            <a:ext cx="2251075" cy="46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4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52400"/>
            <a:ext cx="60960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40" tIns="45667" rIns="91340" bIns="456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34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14400"/>
            <a:ext cx="82296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40" tIns="45667" rIns="91340" bIns="456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05800" y="6373813"/>
            <a:ext cx="457200" cy="379412"/>
          </a:xfrm>
          <a:prstGeom prst="rect">
            <a:avLst/>
          </a:prstGeom>
          <a:solidFill>
            <a:schemeClr val="bg1"/>
          </a:solidFill>
          <a:ln>
            <a:miter lim="800000"/>
            <a:headEnd/>
            <a:tailEnd/>
          </a:ln>
        </p:spPr>
        <p:txBody>
          <a:bodyPr vert="horz" wrap="square" lIns="91340" tIns="45667" rIns="91340" bIns="45667" numCol="1" anchor="t" anchorCtr="0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rgbClr val="000000"/>
                </a:solidFill>
                <a:latin typeface="+mn-lt"/>
                <a:ea typeface="+mn-ea"/>
                <a:cs typeface="ＭＳ Ｐゴシック"/>
              </a:defRPr>
            </a:lvl1pPr>
          </a:lstStyle>
          <a:p>
            <a:pPr>
              <a:defRPr/>
            </a:pPr>
            <a:fld id="{0370991E-3E51-4D8B-95F0-9B3927508C8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143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8" r:id="rId1"/>
    <p:sldLayoutId id="2147484389" r:id="rId2"/>
    <p:sldLayoutId id="2147484390" r:id="rId3"/>
    <p:sldLayoutId id="2147484391" r:id="rId4"/>
    <p:sldLayoutId id="2147484392" r:id="rId5"/>
    <p:sldLayoutId id="2147484393" r:id="rId6"/>
    <p:sldLayoutId id="2147484394" r:id="rId7"/>
    <p:sldLayoutId id="2147484395" r:id="rId8"/>
    <p:sldLayoutId id="2147484396" r:id="rId9"/>
    <p:sldLayoutId id="2147484397" r:id="rId10"/>
    <p:sldLayoutId id="2147484398" r:id="rId11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ＭＳ Ｐゴシック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/>
          <a:cs typeface="MS PGothic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/>
          <a:cs typeface="MS PGothic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/>
          <a:cs typeface="MS PGothic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/>
          <a:cs typeface="MS PGothic"/>
        </a:defRPr>
      </a:lvl9pPr>
    </p:titleStyle>
    <p:bodyStyle>
      <a:lvl1pPr marL="341313" indent="-341313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Wingdings" pitchFamily="2" charset="2"/>
        <a:buChar char="Ø"/>
        <a:defRPr sz="24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741363" indent="-284163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Wingdings 2" pitchFamily="18" charset="2"/>
        <a:buChar char="®"/>
        <a:defRPr sz="2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1413" indent="-227013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SzPct val="12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597025" indent="-227013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Arial" charset="0"/>
        <a:buChar char="•"/>
        <a:defRPr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4225" indent="-227013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1425" indent="-227013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  <a:cs typeface="+mn-cs"/>
        </a:defRPr>
      </a:lvl6pPr>
      <a:lvl7pPr marL="2968625" indent="-227013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  <a:cs typeface="+mn-cs"/>
        </a:defRPr>
      </a:lvl7pPr>
      <a:lvl8pPr marL="3425825" indent="-227013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  <a:cs typeface="+mn-cs"/>
        </a:defRPr>
      </a:lvl8pPr>
      <a:lvl9pPr marL="3883025" indent="-227013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956A3D2-2199-4D62-8658-3A528D90E7D1}" type="datetime1">
              <a:rPr lang="en-US" alt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/22/2020</a:t>
            </a:fld>
            <a:endParaRPr lang="en-US" altLang="en-US" b="1" dirty="0">
              <a:solidFill>
                <a:srgbClr val="0079C1"/>
              </a:solidFill>
            </a:endParaRPr>
          </a:p>
        </p:txBody>
      </p:sp>
      <p:sp>
        <p:nvSpPr>
          <p:cNvPr id="100355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b="1" dirty="0">
              <a:solidFill>
                <a:srgbClr val="0079C1"/>
              </a:solidFill>
            </a:endParaRPr>
          </a:p>
        </p:txBody>
      </p:sp>
      <p:sp>
        <p:nvSpPr>
          <p:cNvPr id="10035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5E9B418-795F-4039-91FC-53B4B4023AA2}" type="slidenum">
              <a:rPr lang="en-US" alt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b="1" dirty="0">
              <a:solidFill>
                <a:srgbClr val="0079C1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700088" y="1382713"/>
            <a:ext cx="7999412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35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762000"/>
            <a:ext cx="809307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036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485900"/>
            <a:ext cx="8089900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pic>
        <p:nvPicPr>
          <p:cNvPr id="100363" name="Picture 11" descr="National_Grid_logo_blue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342900"/>
            <a:ext cx="1830388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1900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0" r:id="rId1"/>
    <p:sldLayoutId id="2147484401" r:id="rId2"/>
    <p:sldLayoutId id="2147484402" r:id="rId3"/>
    <p:sldLayoutId id="2147484403" r:id="rId4"/>
    <p:sldLayoutId id="2147484404" r:id="rId5"/>
    <p:sldLayoutId id="2147484405" r:id="rId6"/>
    <p:sldLayoutId id="2147484406" r:id="rId7"/>
    <p:sldLayoutId id="2147484407" r:id="rId8"/>
    <p:sldLayoutId id="2147484408" r:id="rId9"/>
    <p:sldLayoutId id="2147484409" r:id="rId10"/>
    <p:sldLayoutId id="2147484410" r:id="rId11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342900" indent="-3429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4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</a:defRPr>
      </a:lvl2pPr>
      <a:lvl3pPr marL="1143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</a:defRPr>
      </a:lvl3pPr>
      <a:lvl4pPr marL="1600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chemeClr val="tx2"/>
          </a:solidFill>
          <a:latin typeface="+mn-lt"/>
          <a:ea typeface="+mn-ea"/>
        </a:defRPr>
      </a:lvl4pPr>
      <a:lvl5pPr marL="20574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82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7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12622" y="6488285"/>
            <a:ext cx="2133600" cy="361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solidFill>
                  <a:srgbClr val="0079C1"/>
                </a:solidFill>
                <a:latin typeface="+mn-lt"/>
                <a:ea typeface="ＭＳ Ｐゴシック" pitchFamily="48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29AE523-772A-43AD-AAB6-3266E612BB21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700089" y="1382867"/>
            <a:ext cx="7999412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93763" y="762000"/>
            <a:ext cx="809307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6" y="1485900"/>
            <a:ext cx="80899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32" name="Picture 27" descr="National_Grid_logo_blue"/>
          <p:cNvPicPr>
            <a:picLocks noChangeAspect="1" noChangeArrowheads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6810377" y="342900"/>
            <a:ext cx="1830388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11935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2" r:id="rId1"/>
    <p:sldLayoutId id="2147484413" r:id="rId2"/>
    <p:sldLayoutId id="2147484414" r:id="rId3"/>
    <p:sldLayoutId id="2147484415" r:id="rId4"/>
    <p:sldLayoutId id="2147484416" r:id="rId5"/>
    <p:sldLayoutId id="2147484417" r:id="rId6"/>
    <p:sldLayoutId id="2147484418" r:id="rId7"/>
    <p:sldLayoutId id="2147484419" r:id="rId8"/>
    <p:sldLayoutId id="2147484420" r:id="rId9"/>
    <p:sldLayoutId id="2147484421" r:id="rId10"/>
    <p:sldLayoutId id="2147484422" r:id="rId11"/>
    <p:sldLayoutId id="2147484423" r:id="rId12"/>
    <p:sldLayoutId id="2147484424" r:id="rId13"/>
    <p:sldLayoutId id="2147484425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+mj-lt"/>
          <a:ea typeface="+mj-ea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  <a:cs typeface="ＭＳ Ｐゴシック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400">
          <a:solidFill>
            <a:schemeClr val="tx2"/>
          </a:solidFill>
          <a:latin typeface="+mn-lt"/>
          <a:ea typeface="+mn-ea"/>
          <a:cs typeface="ＭＳ Ｐゴシック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  <a:cs typeface="ＭＳ Ｐゴシック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  <a:cs typeface="ＭＳ Ｐゴシック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chemeClr val="tx2"/>
          </a:solidFill>
          <a:latin typeface="+mn-lt"/>
          <a:ea typeface="+mn-ea"/>
          <a:cs typeface="ＭＳ Ｐゴシック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  <a:cs typeface="ＭＳ Ｐゴシック"/>
        </a:defRPr>
      </a:lvl5pPr>
      <a:lvl6pPr marL="25146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long_powerstrips.gif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228600" y="6324600"/>
            <a:ext cx="86868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Freeform 33"/>
          <p:cNvSpPr>
            <a:spLocks/>
          </p:cNvSpPr>
          <p:nvPr/>
        </p:nvSpPr>
        <p:spPr bwMode="auto">
          <a:xfrm>
            <a:off x="228600" y="228600"/>
            <a:ext cx="8686800" cy="5943600"/>
          </a:xfrm>
          <a:custGeom>
            <a:avLst/>
            <a:gdLst>
              <a:gd name="T0" fmla="*/ 0 w 5376"/>
              <a:gd name="T1" fmla="*/ 0 h 3474"/>
              <a:gd name="T2" fmla="*/ 0 w 5376"/>
              <a:gd name="T3" fmla="*/ 2147483647 h 3474"/>
              <a:gd name="T4" fmla="*/ 2147483647 w 5376"/>
              <a:gd name="T5" fmla="*/ 2147483647 h 3474"/>
              <a:gd name="T6" fmla="*/ 2147483647 w 5376"/>
              <a:gd name="T7" fmla="*/ 2147483647 h 3474"/>
              <a:gd name="T8" fmla="*/ 2147483647 w 5376"/>
              <a:gd name="T9" fmla="*/ 2147483647 h 3474"/>
              <a:gd name="T10" fmla="*/ 2147483647 w 5376"/>
              <a:gd name="T11" fmla="*/ 2147483647 h 3474"/>
              <a:gd name="T12" fmla="*/ 2147483647 w 5376"/>
              <a:gd name="T13" fmla="*/ 0 h 3474"/>
              <a:gd name="T14" fmla="*/ 0 w 5376"/>
              <a:gd name="T15" fmla="*/ 0 h 347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376" h="3474">
                <a:moveTo>
                  <a:pt x="0" y="0"/>
                </a:moveTo>
                <a:lnTo>
                  <a:pt x="0" y="3474"/>
                </a:lnTo>
                <a:lnTo>
                  <a:pt x="941" y="3474"/>
                </a:lnTo>
                <a:lnTo>
                  <a:pt x="1081" y="3474"/>
                </a:lnTo>
                <a:lnTo>
                  <a:pt x="1210" y="3474"/>
                </a:lnTo>
                <a:lnTo>
                  <a:pt x="5376" y="3474"/>
                </a:lnTo>
                <a:lnTo>
                  <a:pt x="5376" y="0"/>
                </a:lnTo>
                <a:lnTo>
                  <a:pt x="0" y="0"/>
                </a:lnTo>
                <a:close/>
              </a:path>
            </a:pathLst>
          </a:custGeom>
          <a:solidFill>
            <a:srgbClr val="260F54"/>
          </a:solidFill>
          <a:ln>
            <a:noFill/>
          </a:ln>
          <a:ex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28" name="Line 36"/>
          <p:cNvSpPr>
            <a:spLocks noChangeShapeType="1"/>
          </p:cNvSpPr>
          <p:nvPr/>
        </p:nvSpPr>
        <p:spPr bwMode="auto">
          <a:xfrm flipH="1" flipV="1">
            <a:off x="685800" y="29718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x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29" name="Line 39"/>
          <p:cNvSpPr>
            <a:spLocks noChangeShapeType="1"/>
          </p:cNvSpPr>
          <p:nvPr/>
        </p:nvSpPr>
        <p:spPr bwMode="auto">
          <a:xfrm>
            <a:off x="2400300" y="43434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x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30" name="Line 40"/>
          <p:cNvSpPr>
            <a:spLocks noChangeShapeType="1"/>
          </p:cNvSpPr>
          <p:nvPr/>
        </p:nvSpPr>
        <p:spPr bwMode="auto">
          <a:xfrm flipH="1">
            <a:off x="685800" y="43434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x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31" name="Line 41"/>
          <p:cNvSpPr>
            <a:spLocks noChangeShapeType="1"/>
          </p:cNvSpPr>
          <p:nvPr/>
        </p:nvSpPr>
        <p:spPr bwMode="auto">
          <a:xfrm flipV="1">
            <a:off x="2400300" y="29718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x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32" name="Text Box 7"/>
          <p:cNvSpPr txBox="1">
            <a:spLocks noChangeArrowheads="1"/>
          </p:cNvSpPr>
          <p:nvPr/>
        </p:nvSpPr>
        <p:spPr bwMode="auto">
          <a:xfrm>
            <a:off x="1028700" y="3216275"/>
            <a:ext cx="1439863" cy="1241425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lIns="18000" tIns="10800" rIns="18000" bIns="10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0000"/>
                </a:solidFill>
              </a:rPr>
              <a:t>Place your chosen image here. The four corners must just cover the arrow tips. For covers, the three pictures should be the same size and in a straight line.   </a:t>
            </a:r>
            <a:endParaRPr lang="en-US" sz="2800" b="1" dirty="0">
              <a:solidFill>
                <a:srgbClr val="0079C1"/>
              </a:solidFill>
            </a:endParaRPr>
          </a:p>
        </p:txBody>
      </p:sp>
      <p:pic>
        <p:nvPicPr>
          <p:cNvPr id="1033" name="Picture 48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705600" y="457200"/>
            <a:ext cx="1955800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4" name="Picture 4" descr="NG_LIBRARY_US_D4-685_T_RGB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685800" y="2943225"/>
            <a:ext cx="2181225" cy="174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5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762000"/>
            <a:ext cx="809307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485900"/>
            <a:ext cx="80899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49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400" b="1">
                <a:solidFill>
                  <a:srgbClr val="0079C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D7356E24-4794-4802-A2CC-31B72B4733E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435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7" r:id="rId1"/>
    <p:sldLayoutId id="2147484428" r:id="rId2"/>
    <p:sldLayoutId id="2147484429" r:id="rId3"/>
    <p:sldLayoutId id="2147484430" r:id="rId4"/>
    <p:sldLayoutId id="2147484431" r:id="rId5"/>
    <p:sldLayoutId id="2147484432" r:id="rId6"/>
    <p:sldLayoutId id="2147484433" r:id="rId7"/>
    <p:sldLayoutId id="2147484434" r:id="rId8"/>
    <p:sldLayoutId id="2147484435" r:id="rId9"/>
    <p:sldLayoutId id="2147484436" r:id="rId10"/>
    <p:sldLayoutId id="2147484437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+mj-lt"/>
          <a:ea typeface="+mj-ea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 pitchFamily="34" charset="-128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 pitchFamily="34" charset="-128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 pitchFamily="34" charset="-128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 pitchFamily="34" charset="-128"/>
          <a:cs typeface="ＭＳ Ｐゴシック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400">
          <a:solidFill>
            <a:srgbClr val="260F54"/>
          </a:solidFill>
          <a:latin typeface="+mn-lt"/>
          <a:ea typeface="+mn-ea"/>
          <a:cs typeface="ＭＳ Ｐゴシック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rgbClr val="260F54"/>
          </a:solidFill>
          <a:latin typeface="+mn-lt"/>
          <a:ea typeface="+mn-ea"/>
          <a:cs typeface="ＭＳ Ｐゴシック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rgbClr val="260F54"/>
          </a:solidFill>
          <a:latin typeface="+mn-lt"/>
          <a:ea typeface="+mn-ea"/>
          <a:cs typeface="ＭＳ Ｐゴシック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rgbClr val="260F54"/>
          </a:solidFill>
          <a:latin typeface="+mn-lt"/>
          <a:ea typeface="+mn-ea"/>
          <a:cs typeface="ＭＳ Ｐゴシック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rgbClr val="260F54"/>
          </a:solidFill>
          <a:latin typeface="+mn-lt"/>
          <a:ea typeface="+mn-ea"/>
          <a:cs typeface="ＭＳ Ｐゴシック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rgbClr val="260F54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rgbClr val="260F54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rgbClr val="260F54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rgbClr val="260F54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ea typeface="ＭＳ Ｐゴシック" pitchFamily="-109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D0DB079-50D1-46CB-92DA-5543E05AE69A}" type="datetime1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/22/2020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3277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-109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3277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381750"/>
            <a:ext cx="21336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9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9707110-D98E-41ED-B035-B33C79AA6A28}" type="slidenum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b="1" dirty="0">
              <a:solidFill>
                <a:srgbClr val="0079C1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700088" y="1382713"/>
            <a:ext cx="7999412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762000"/>
            <a:ext cx="809307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485900"/>
            <a:ext cx="8089900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pic>
        <p:nvPicPr>
          <p:cNvPr id="1032" name="Picture 27" descr="National_Grid_logo_blue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342900"/>
            <a:ext cx="1830388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1706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9" r:id="rId1"/>
    <p:sldLayoutId id="2147484440" r:id="rId2"/>
    <p:sldLayoutId id="2147484441" r:id="rId3"/>
    <p:sldLayoutId id="2147484442" r:id="rId4"/>
    <p:sldLayoutId id="2147484443" r:id="rId5"/>
    <p:sldLayoutId id="2147484444" r:id="rId6"/>
    <p:sldLayoutId id="2147484445" r:id="rId7"/>
    <p:sldLayoutId id="2147484446" r:id="rId8"/>
    <p:sldLayoutId id="2147484447" r:id="rId9"/>
    <p:sldLayoutId id="2147484448" r:id="rId10"/>
    <p:sldLayoutId id="2147484449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-109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-109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-109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-109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-109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-109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-109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-109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4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chemeClr val="tx2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5pPr>
      <a:lvl6pPr marL="25146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ea typeface="ＭＳ Ｐゴシック" pitchFamily="-109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D0DB079-50D1-46CB-92DA-5543E05AE69A}" type="datetime1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/22/2020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3277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-109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3277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381750"/>
            <a:ext cx="21336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9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9707110-D98E-41ED-B035-B33C79AA6A28}" type="slidenum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b="1" dirty="0">
              <a:solidFill>
                <a:srgbClr val="0079C1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700088" y="1382713"/>
            <a:ext cx="7999412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762000"/>
            <a:ext cx="809307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485900"/>
            <a:ext cx="8089900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pic>
        <p:nvPicPr>
          <p:cNvPr id="1032" name="Picture 27" descr="National_Grid_logo_blue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342900"/>
            <a:ext cx="1830388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0215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1" r:id="rId1"/>
    <p:sldLayoutId id="2147484452" r:id="rId2"/>
    <p:sldLayoutId id="2147484453" r:id="rId3"/>
    <p:sldLayoutId id="2147484454" r:id="rId4"/>
    <p:sldLayoutId id="2147484455" r:id="rId5"/>
    <p:sldLayoutId id="2147484456" r:id="rId6"/>
    <p:sldLayoutId id="2147484457" r:id="rId7"/>
    <p:sldLayoutId id="2147484458" r:id="rId8"/>
    <p:sldLayoutId id="2147484459" r:id="rId9"/>
    <p:sldLayoutId id="2147484460" r:id="rId10"/>
    <p:sldLayoutId id="214748446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-109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-109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-109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-109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-109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-109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-109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-109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4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chemeClr val="tx2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5pPr>
      <a:lvl6pPr marL="25146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9684597"/>
              </p:ext>
            </p:extLst>
          </p:nvPr>
        </p:nvGraphicFramePr>
        <p:xfrm>
          <a:off x="1590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44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8802" name="Rectangle 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9373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610" tIns="54610" rIns="54610" bIns="54610" numCol="1" anchor="ctr" anchorCtr="0" compatLnSpc="1">
            <a:prstTxWarp prst="textNoShape">
              <a:avLst/>
            </a:prstTxWarp>
          </a:bodyPr>
          <a:lstStyle>
            <a:lvl1pPr algn="l">
              <a:defRPr sz="1000" b="0" baseline="0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588803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92467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610" tIns="54610" rIns="54610" bIns="54610" numCol="1" anchor="ctr" anchorCtr="0" compatLnSpc="1">
            <a:prstTxWarp prst="textNoShape">
              <a:avLst/>
            </a:prstTxWarp>
          </a:bodyPr>
          <a:lstStyle>
            <a:lvl1pPr>
              <a:defRPr sz="1000" b="0" baseline="0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58880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5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610" tIns="54610" rIns="54610" bIns="54610" numCol="1" anchor="ctr" anchorCtr="0" compatLnSpc="1">
            <a:prstTxWarp prst="textNoShape">
              <a:avLst/>
            </a:prstTxWarp>
          </a:bodyPr>
          <a:lstStyle>
            <a:lvl1pPr algn="r">
              <a:defRPr sz="1000" b="0" baseline="0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3843541-AF64-483A-9E4C-5936A147450A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593730" y="909376"/>
            <a:ext cx="8093075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93730" y="443109"/>
            <a:ext cx="8093075" cy="387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51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9" y="1485900"/>
            <a:ext cx="8089900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5128" name="Picture 9" descr="National_Grid_logo_blue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6" y="342900"/>
            <a:ext cx="1830388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7206032" y="1"/>
            <a:ext cx="1953846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eaLnBrk="0" fontAlgn="base" hangingPunct="0">
              <a:spcBef>
                <a:spcPts val="60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sz="1000" b="1" dirty="0">
                <a:solidFill>
                  <a:srgbClr val="C74C25"/>
                </a:solidFill>
              </a:rPr>
              <a:t>DRAFT -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723611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1" r:id="rId1"/>
    <p:sldLayoutId id="2147484502" r:id="rId2"/>
    <p:sldLayoutId id="2147484503" r:id="rId3"/>
    <p:sldLayoutId id="2147484504" r:id="rId4"/>
    <p:sldLayoutId id="2147484505" r:id="rId5"/>
    <p:sldLayoutId id="2147484506" r:id="rId6"/>
    <p:sldLayoutId id="2147484507" r:id="rId7"/>
    <p:sldLayoutId id="2147484508" r:id="rId8"/>
    <p:sldLayoutId id="2147484509" r:id="rId9"/>
    <p:sldLayoutId id="2147484510" r:id="rId10"/>
    <p:sldLayoutId id="2147484511" r:id="rId11"/>
    <p:sldLayoutId id="2147484512" r:id="rId12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79C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209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41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627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837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216004" indent="-216004" algn="l" rtl="0" eaLnBrk="1" fontAlgn="base" hangingPunct="1">
        <a:spcBef>
          <a:spcPct val="0"/>
        </a:spcBef>
        <a:spcAft>
          <a:spcPts val="800"/>
        </a:spcAft>
        <a:buClr>
          <a:srgbClr val="0079C1"/>
        </a:buClr>
        <a:buSzPct val="90000"/>
        <a:buFont typeface="Wingdings 2" pitchFamily="18" charset="2"/>
        <a:buChar char="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32009" indent="-216004" algn="l" rtl="0" eaLnBrk="1" fontAlgn="base" hangingPunct="1">
        <a:spcBef>
          <a:spcPct val="0"/>
        </a:spcBef>
        <a:spcAft>
          <a:spcPts val="800"/>
        </a:spcAft>
        <a:buClr>
          <a:srgbClr val="0079C1"/>
        </a:buClr>
        <a:buSzPct val="9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  <a:ea typeface="+mn-ea"/>
        </a:defRPr>
      </a:lvl2pPr>
      <a:lvl3pPr marL="648013" indent="-216004" algn="l" rtl="0" eaLnBrk="1" fontAlgn="base" hangingPunct="1">
        <a:spcBef>
          <a:spcPct val="0"/>
        </a:spcBef>
        <a:spcAft>
          <a:spcPts val="800"/>
        </a:spcAft>
        <a:buClr>
          <a:srgbClr val="0079C1"/>
        </a:buClr>
        <a:buSzPct val="90000"/>
        <a:buFont typeface="Wingdings 2" pitchFamily="18" charset="2"/>
        <a:buChar char="¾"/>
        <a:defRPr sz="1600">
          <a:solidFill>
            <a:schemeClr val="tx1"/>
          </a:solidFill>
          <a:latin typeface="+mn-lt"/>
          <a:ea typeface="+mn-ea"/>
        </a:defRPr>
      </a:lvl3pPr>
      <a:lvl4pPr marL="864017" indent="-216004" algn="l" rtl="0" eaLnBrk="1" fontAlgn="base" hangingPunct="1">
        <a:spcBef>
          <a:spcPct val="0"/>
        </a:spcBef>
        <a:spcAft>
          <a:spcPts val="800"/>
        </a:spcAft>
        <a:buClr>
          <a:srgbClr val="0079C1"/>
        </a:buClr>
        <a:buSzPct val="9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  <a:ea typeface="+mn-ea"/>
        </a:defRPr>
      </a:lvl4pPr>
      <a:lvl5pPr marL="1080022" indent="-216004" algn="l" rtl="0" eaLnBrk="1" fontAlgn="base" hangingPunct="1">
        <a:spcBef>
          <a:spcPct val="0"/>
        </a:spcBef>
        <a:spcAft>
          <a:spcPts val="800"/>
        </a:spcAft>
        <a:buClr>
          <a:srgbClr val="0079C1"/>
        </a:buClr>
        <a:buSzPct val="90000"/>
        <a:buFont typeface="Wingdings 2" pitchFamily="18" charset="2"/>
        <a:buChar char="¾"/>
        <a:defRPr sz="1600">
          <a:solidFill>
            <a:schemeClr val="tx1"/>
          </a:solidFill>
          <a:latin typeface="+mn-lt"/>
          <a:ea typeface="+mn-ea"/>
        </a:defRPr>
      </a:lvl5pPr>
      <a:lvl6pPr marL="2514650" indent="-228605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59" indent="-228605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69" indent="-228605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78" indent="-228605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5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4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3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393" userDrawn="1">
          <p15:clr>
            <a:srgbClr val="F26B43"/>
          </p15:clr>
        </p15:guide>
        <p15:guide id="3" orient="horz" pos="799" userDrawn="1">
          <p15:clr>
            <a:srgbClr val="F26B43"/>
          </p15:clr>
        </p15:guide>
        <p15:guide id="4" orient="horz" pos="935" userDrawn="1">
          <p15:clr>
            <a:srgbClr val="F26B43"/>
          </p15:clr>
        </p15:guide>
        <p15:guide id="5" orient="horz" pos="3861" userDrawn="1">
          <p15:clr>
            <a:srgbClr val="F26B43"/>
          </p15:clr>
        </p15:guide>
        <p15:guide id="6" pos="5928" userDrawn="1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91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68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8802" name="Rectangle 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9373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610" tIns="54610" rIns="54610" bIns="54610" numCol="1" anchor="ctr" anchorCtr="0" compatLnSpc="1">
            <a:prstTxWarp prst="textNoShape">
              <a:avLst/>
            </a:prstTxWarp>
          </a:bodyPr>
          <a:lstStyle>
            <a:lvl1pPr algn="l">
              <a:defRPr sz="1000" b="0" baseline="0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588803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92467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610" tIns="54610" rIns="54610" bIns="54610" numCol="1" anchor="ctr" anchorCtr="0" compatLnSpc="1">
            <a:prstTxWarp prst="textNoShape">
              <a:avLst/>
            </a:prstTxWarp>
          </a:bodyPr>
          <a:lstStyle>
            <a:lvl1pPr>
              <a:defRPr sz="1000" b="0" baseline="0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58880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5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610" tIns="54610" rIns="54610" bIns="54610" numCol="1" anchor="ctr" anchorCtr="0" compatLnSpc="1">
            <a:prstTxWarp prst="textNoShape">
              <a:avLst/>
            </a:prstTxWarp>
          </a:bodyPr>
          <a:lstStyle>
            <a:lvl1pPr algn="r">
              <a:defRPr sz="1000" b="0" baseline="0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3843541-AF64-483A-9E4C-5936A147450A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593731" y="909376"/>
            <a:ext cx="8093075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93731" y="443109"/>
            <a:ext cx="8093075" cy="387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51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9" y="1485900"/>
            <a:ext cx="8089900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5128" name="Picture 9" descr="National_Grid_logo_blue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6" y="342900"/>
            <a:ext cx="1830388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7206032" y="2"/>
            <a:ext cx="1953846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eaLnBrk="0" fontAlgn="base" hangingPunct="0">
              <a:spcBef>
                <a:spcPts val="60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sz="1000" b="1" dirty="0">
                <a:solidFill>
                  <a:srgbClr val="C74C25"/>
                </a:solidFill>
              </a:rPr>
              <a:t>DRAFT -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3281766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4" r:id="rId1"/>
    <p:sldLayoutId id="2147484515" r:id="rId2"/>
    <p:sldLayoutId id="2147484516" r:id="rId3"/>
    <p:sldLayoutId id="2147484517" r:id="rId4"/>
    <p:sldLayoutId id="2147484518" r:id="rId5"/>
    <p:sldLayoutId id="2147484519" r:id="rId6"/>
    <p:sldLayoutId id="2147484520" r:id="rId7"/>
    <p:sldLayoutId id="2147484521" r:id="rId8"/>
    <p:sldLayoutId id="2147484522" r:id="rId9"/>
    <p:sldLayoutId id="2147484523" r:id="rId10"/>
    <p:sldLayoutId id="2147484524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79C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209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41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627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837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216004" indent="-216004" algn="l" rtl="0" eaLnBrk="1" fontAlgn="base" hangingPunct="1">
        <a:spcBef>
          <a:spcPct val="0"/>
        </a:spcBef>
        <a:spcAft>
          <a:spcPts val="800"/>
        </a:spcAft>
        <a:buClr>
          <a:srgbClr val="0079C1"/>
        </a:buClr>
        <a:buSzPct val="90000"/>
        <a:buFont typeface="Wingdings 2" pitchFamily="18" charset="2"/>
        <a:buChar char="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32009" indent="-216004" algn="l" rtl="0" eaLnBrk="1" fontAlgn="base" hangingPunct="1">
        <a:spcBef>
          <a:spcPct val="0"/>
        </a:spcBef>
        <a:spcAft>
          <a:spcPts val="800"/>
        </a:spcAft>
        <a:buClr>
          <a:srgbClr val="0079C1"/>
        </a:buClr>
        <a:buSzPct val="9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  <a:ea typeface="+mn-ea"/>
        </a:defRPr>
      </a:lvl2pPr>
      <a:lvl3pPr marL="648013" indent="-216004" algn="l" rtl="0" eaLnBrk="1" fontAlgn="base" hangingPunct="1">
        <a:spcBef>
          <a:spcPct val="0"/>
        </a:spcBef>
        <a:spcAft>
          <a:spcPts val="800"/>
        </a:spcAft>
        <a:buClr>
          <a:srgbClr val="0079C1"/>
        </a:buClr>
        <a:buSzPct val="90000"/>
        <a:buFont typeface="Wingdings 2" pitchFamily="18" charset="2"/>
        <a:buChar char="¾"/>
        <a:defRPr sz="1600">
          <a:solidFill>
            <a:schemeClr val="tx1"/>
          </a:solidFill>
          <a:latin typeface="+mn-lt"/>
          <a:ea typeface="+mn-ea"/>
        </a:defRPr>
      </a:lvl3pPr>
      <a:lvl4pPr marL="864017" indent="-216004" algn="l" rtl="0" eaLnBrk="1" fontAlgn="base" hangingPunct="1">
        <a:spcBef>
          <a:spcPct val="0"/>
        </a:spcBef>
        <a:spcAft>
          <a:spcPts val="800"/>
        </a:spcAft>
        <a:buClr>
          <a:srgbClr val="0079C1"/>
        </a:buClr>
        <a:buSzPct val="9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  <a:ea typeface="+mn-ea"/>
        </a:defRPr>
      </a:lvl4pPr>
      <a:lvl5pPr marL="1080022" indent="-216004" algn="l" rtl="0" eaLnBrk="1" fontAlgn="base" hangingPunct="1">
        <a:spcBef>
          <a:spcPct val="0"/>
        </a:spcBef>
        <a:spcAft>
          <a:spcPts val="800"/>
        </a:spcAft>
        <a:buClr>
          <a:srgbClr val="0079C1"/>
        </a:buClr>
        <a:buSzPct val="90000"/>
        <a:buFont typeface="Wingdings 2" pitchFamily="18" charset="2"/>
        <a:buChar char="¾"/>
        <a:defRPr sz="1600">
          <a:solidFill>
            <a:schemeClr val="tx1"/>
          </a:solidFill>
          <a:latin typeface="+mn-lt"/>
          <a:ea typeface="+mn-ea"/>
        </a:defRPr>
      </a:lvl5pPr>
      <a:lvl6pPr marL="2514650" indent="-228605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59" indent="-228605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69" indent="-228605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78" indent="-228605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5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4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3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>
          <p15:clr>
            <a:srgbClr val="F26B43"/>
          </p15:clr>
        </p15:guide>
        <p15:guide id="2" pos="393">
          <p15:clr>
            <a:srgbClr val="F26B43"/>
          </p15:clr>
        </p15:guide>
        <p15:guide id="3" orient="horz" pos="799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orient="horz" pos="3861">
          <p15:clr>
            <a:srgbClr val="F26B43"/>
          </p15:clr>
        </p15:guide>
        <p15:guide id="6" pos="592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7" name="Object 2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0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355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</a:defRPr>
            </a:lvl1pPr>
          </a:lstStyle>
          <a:p>
            <a:endParaRPr lang="en-US" altLang="en-US" dirty="0"/>
          </a:p>
        </p:txBody>
      </p:sp>
      <p:sp>
        <p:nvSpPr>
          <p:cNvPr id="10035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46424" y="6556835"/>
            <a:ext cx="795528" cy="256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algn="r" defTabSz="914400" rtl="0" eaLnBrk="1" latinLnBrk="0" hangingPunct="1">
              <a:defRPr lang="en-US" altLang="en-US" sz="1800" kern="1200" smtClean="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1pPr>
          </a:lstStyle>
          <a:p>
            <a:fld id="{1C41F466-472F-46E0-91C2-C775F7BD3860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700088" y="1382713"/>
            <a:ext cx="7999412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2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911781"/>
            <a:ext cx="80930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485900"/>
            <a:ext cx="80899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" name="TextBox 8"/>
          <p:cNvSpPr txBox="1">
            <a:spLocks noChangeArrowheads="1"/>
          </p:cNvSpPr>
          <p:nvPr/>
        </p:nvSpPr>
        <p:spPr bwMode="auto">
          <a:xfrm>
            <a:off x="3024180" y="0"/>
            <a:ext cx="2667000" cy="2460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US" sz="1000" b="1" i="1" dirty="0">
                <a:solidFill>
                  <a:srgbClr val="808080"/>
                </a:solidFill>
              </a:rPr>
              <a:t>Confidential: Not for Distribution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963" y="132221"/>
            <a:ext cx="1828800" cy="58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992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1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rgbClr val="0079C1"/>
          </a:solidFill>
          <a:latin typeface="+mj-lt"/>
          <a:ea typeface="ＭＳ Ｐゴシック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400">
          <a:solidFill>
            <a:schemeClr val="tx2"/>
          </a:solidFill>
          <a:latin typeface="+mn-lt"/>
          <a:ea typeface="ＭＳ Ｐゴシック"/>
          <a:cs typeface="ＭＳ Ｐゴシック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ＭＳ Ｐゴシック"/>
          <a:cs typeface="ＭＳ Ｐゴシック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ＭＳ Ｐゴシック"/>
          <a:cs typeface="ＭＳ Ｐゴシック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chemeClr val="tx2"/>
          </a:solidFill>
          <a:latin typeface="+mn-lt"/>
          <a:ea typeface="ＭＳ Ｐゴシック"/>
          <a:cs typeface="ＭＳ Ｐゴシック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ＭＳ Ｐゴシック"/>
          <a:cs typeface="ＭＳ Ｐゴシック"/>
        </a:defRPr>
      </a:lvl5pPr>
      <a:lvl6pPr marL="25146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76" name="Object 56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36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355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10035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47075" y="6556375"/>
            <a:ext cx="7953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altLang="en-US" sz="1200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fld id="{04A458A9-8F7C-4536-AA47-9B0D945F59AB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700088" y="1382713"/>
            <a:ext cx="7999412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81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881063"/>
            <a:ext cx="80930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18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485900"/>
            <a:ext cx="80899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" name="TextBox 8"/>
          <p:cNvSpPr txBox="1">
            <a:spLocks noChangeArrowheads="1"/>
          </p:cNvSpPr>
          <p:nvPr/>
        </p:nvSpPr>
        <p:spPr bwMode="auto">
          <a:xfrm>
            <a:off x="3024188" y="0"/>
            <a:ext cx="2667000" cy="2460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US" sz="1000" b="1" i="1" dirty="0">
                <a:solidFill>
                  <a:srgbClr val="808080"/>
                </a:solidFill>
              </a:rPr>
              <a:t>Confidential: Not for Distribution</a:t>
            </a:r>
          </a:p>
        </p:txBody>
      </p:sp>
      <p:pic>
        <p:nvPicPr>
          <p:cNvPr id="5184" name="Picture 10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6811963" y="131763"/>
            <a:ext cx="1828800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62640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3" r:id="rId1"/>
    <p:sldLayoutId id="2147484234" r:id="rId2"/>
    <p:sldLayoutId id="2147484235" r:id="rId3"/>
    <p:sldLayoutId id="2147484236" r:id="rId4"/>
    <p:sldLayoutId id="2147484237" r:id="rId5"/>
    <p:sldLayoutId id="2147484238" r:id="rId6"/>
    <p:sldLayoutId id="2147484239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9C1"/>
          </a:solidFill>
          <a:latin typeface="+mj-lt"/>
          <a:ea typeface="ＭＳ Ｐゴシック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400">
          <a:solidFill>
            <a:schemeClr val="tx2"/>
          </a:solidFill>
          <a:latin typeface="+mn-lt"/>
          <a:ea typeface="ＭＳ Ｐゴシック"/>
          <a:cs typeface="ＭＳ Ｐゴシック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ＭＳ Ｐゴシック"/>
          <a:cs typeface="ＭＳ Ｐゴシック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ＭＳ Ｐゴシック"/>
          <a:cs typeface="ＭＳ Ｐゴシック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chemeClr val="tx2"/>
          </a:solidFill>
          <a:latin typeface="+mn-lt"/>
          <a:ea typeface="ＭＳ Ｐゴシック"/>
          <a:cs typeface="ＭＳ Ｐゴシック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ＭＳ Ｐゴシック"/>
          <a:cs typeface="ＭＳ Ｐゴシック"/>
        </a:defRPr>
      </a:lvl5pPr>
      <a:lvl6pPr marL="25146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1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1201A68-A577-47EC-A94B-4DC68B12D1AA}" type="datetime1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/22/2020</a:t>
            </a:fld>
            <a:endParaRPr lang="en-US" dirty="0"/>
          </a:p>
        </p:txBody>
      </p:sp>
      <p:sp>
        <p:nvSpPr>
          <p:cNvPr id="100355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 dirty="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10035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1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88C6CCE-318D-44CB-B45E-E6D24BB3C800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700088" y="1382713"/>
            <a:ext cx="7999412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942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762000"/>
            <a:ext cx="809307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399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485900"/>
            <a:ext cx="80899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9944" name="Picture 11" descr="National_Grid_logo_blue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6810375" y="342900"/>
            <a:ext cx="1830388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13795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  <p:sldLayoutId id="2147484248" r:id="rId8"/>
    <p:sldLayoutId id="2147484249" r:id="rId9"/>
    <p:sldLayoutId id="2147484250" r:id="rId10"/>
    <p:sldLayoutId id="214748425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+mj-lt"/>
          <a:ea typeface="ＭＳ Ｐゴシック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400">
          <a:solidFill>
            <a:schemeClr val="tx2"/>
          </a:solidFill>
          <a:latin typeface="+mn-lt"/>
          <a:ea typeface="ＭＳ Ｐゴシック"/>
          <a:cs typeface="ＭＳ Ｐゴシック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ＭＳ Ｐゴシック"/>
          <a:cs typeface="ＭＳ Ｐゴシック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ＭＳ Ｐゴシック"/>
          <a:cs typeface="ＭＳ Ｐゴシック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chemeClr val="tx2"/>
          </a:solidFill>
          <a:latin typeface="+mn-lt"/>
          <a:ea typeface="ＭＳ Ｐゴシック"/>
          <a:cs typeface="ＭＳ Ｐゴシック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ＭＳ Ｐゴシック"/>
          <a:cs typeface="ＭＳ Ｐゴシック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  <a:ea typeface="ＭＳ Ｐゴシック" pitchFamily="48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C64ECFB-4EE0-48FA-AA0C-7CDFF0D655B7}" type="datetime1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/22/2020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55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48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5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48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B0BD314-B6AF-43D7-AA6E-187AC8759014}" type="slidenum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b="1" dirty="0">
              <a:solidFill>
                <a:srgbClr val="0079C1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700088" y="1382713"/>
            <a:ext cx="7999412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54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762000"/>
            <a:ext cx="809307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20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485900"/>
            <a:ext cx="8089900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056" name="Picture 11" descr="National_Grid_logo_blue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342900"/>
            <a:ext cx="1830388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3589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6" r:id="rId1"/>
    <p:sldLayoutId id="2147484257" r:id="rId2"/>
    <p:sldLayoutId id="2147484258" r:id="rId3"/>
    <p:sldLayoutId id="2147484259" r:id="rId4"/>
    <p:sldLayoutId id="2147484260" r:id="rId5"/>
    <p:sldLayoutId id="2147484261" r:id="rId6"/>
    <p:sldLayoutId id="2147484262" r:id="rId7"/>
    <p:sldLayoutId id="2147484263" r:id="rId8"/>
    <p:sldLayoutId id="2147484264" r:id="rId9"/>
    <p:sldLayoutId id="2147484265" r:id="rId10"/>
    <p:sldLayoutId id="2147484266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+mj-lt"/>
          <a:ea typeface="MS PGothic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MS PGothic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400">
          <a:solidFill>
            <a:schemeClr val="tx2"/>
          </a:solidFill>
          <a:latin typeface="+mn-lt"/>
          <a:ea typeface="MS PGothic" pitchFamily="34" charset="-128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MS PGothic" pitchFamily="34" charset="-128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MS PGothic" pitchFamily="34" charset="-128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chemeClr val="tx2"/>
          </a:solidFill>
          <a:latin typeface="+mn-lt"/>
          <a:ea typeface="MS PGothic" pitchFamily="34" charset="-128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MS PGothic" pitchFamily="34" charset="-128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7" name="Object 23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35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355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</a:defRPr>
            </a:lvl1pPr>
          </a:lstStyle>
          <a:p>
            <a:endParaRPr lang="en-US" altLang="en-US" dirty="0"/>
          </a:p>
        </p:txBody>
      </p:sp>
      <p:sp>
        <p:nvSpPr>
          <p:cNvPr id="10035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46424" y="6556835"/>
            <a:ext cx="795528" cy="256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algn="r" defTabSz="914400" rtl="0" eaLnBrk="1" latinLnBrk="0" hangingPunct="1">
              <a:defRPr lang="en-US" altLang="en-US" sz="1200" kern="1200" smtClean="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1pPr>
          </a:lstStyle>
          <a:p>
            <a:fld id="{1C41F466-472F-46E0-91C2-C775F7BD3860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700088" y="1382713"/>
            <a:ext cx="7999412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2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881003"/>
            <a:ext cx="809307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485900"/>
            <a:ext cx="80899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" name="TextBox 8"/>
          <p:cNvSpPr txBox="1">
            <a:spLocks noChangeArrowheads="1"/>
          </p:cNvSpPr>
          <p:nvPr/>
        </p:nvSpPr>
        <p:spPr bwMode="auto">
          <a:xfrm>
            <a:off x="3024180" y="0"/>
            <a:ext cx="2667000" cy="2460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US" sz="1000" b="1" i="1" dirty="0">
                <a:solidFill>
                  <a:srgbClr val="808080"/>
                </a:solidFill>
              </a:rPr>
              <a:t>Confidential: Not for Distribution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963" y="132221"/>
            <a:ext cx="1828800" cy="58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781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9C1"/>
          </a:solidFill>
          <a:latin typeface="+mj-lt"/>
          <a:ea typeface="ＭＳ Ｐゴシック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400">
          <a:solidFill>
            <a:schemeClr val="tx2"/>
          </a:solidFill>
          <a:latin typeface="+mn-lt"/>
          <a:ea typeface="ＭＳ Ｐゴシック"/>
          <a:cs typeface="ＭＳ Ｐゴシック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ＭＳ Ｐゴシック"/>
          <a:cs typeface="ＭＳ Ｐゴシック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ＭＳ Ｐゴシック"/>
          <a:cs typeface="ＭＳ Ｐゴシック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chemeClr val="tx2"/>
          </a:solidFill>
          <a:latin typeface="+mn-lt"/>
          <a:ea typeface="ＭＳ Ｐゴシック"/>
          <a:cs typeface="ＭＳ Ｐゴシック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ＭＳ Ｐゴシック"/>
          <a:cs typeface="ＭＳ Ｐゴシック"/>
        </a:defRPr>
      </a:lvl5pPr>
      <a:lvl6pPr marL="25146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idx="1"/>
          </p:nvPr>
        </p:nvSpPr>
        <p:spPr>
          <a:xfrm>
            <a:off x="577850" y="824622"/>
            <a:ext cx="8108950" cy="54809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 (arial-bold-14pt)</a:t>
            </a:r>
          </a:p>
          <a:p>
            <a:pPr lvl="1"/>
            <a:r>
              <a:rPr lang="en-US" dirty="0"/>
              <a:t>Second level (Arial-12pt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</p:txBody>
      </p:sp>
      <p:sp>
        <p:nvSpPr>
          <p:cNvPr id="17" name="Rectangle 17" descr="Title goes here: Helvetica 24"/>
          <p:cNvSpPr>
            <a:spLocks noGrp="1" noChangeArrowheads="1"/>
          </p:cNvSpPr>
          <p:nvPr>
            <p:ph type="title"/>
          </p:nvPr>
        </p:nvSpPr>
        <p:spPr bwMode="auto">
          <a:xfrm>
            <a:off x="581024" y="152570"/>
            <a:ext cx="8105775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TITLE SUBHEAD (Make subhead black font bold)</a:t>
            </a:r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0" y="6457950"/>
            <a:ext cx="9144000" cy="0"/>
          </a:xfrm>
          <a:prstGeom prst="line">
            <a:avLst/>
          </a:prstGeom>
          <a:ln w="19050">
            <a:solidFill>
              <a:srgbClr val="0079C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LOGO_NG_HWHFY_PMS300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7439876" y="246904"/>
            <a:ext cx="1224871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88215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6" r:id="rId1"/>
    <p:sldLayoutId id="2147484277" r:id="rId2"/>
    <p:sldLayoutId id="2147484278" r:id="rId3"/>
    <p:sldLayoutId id="2147484279" r:id="rId4"/>
    <p:sldLayoutId id="2147484280" r:id="rId5"/>
    <p:sldLayoutId id="2147484281" r:id="rId6"/>
    <p:sldLayoutId id="2147484282" r:id="rId7"/>
    <p:sldLayoutId id="2147484283" r:id="rId8"/>
    <p:sldLayoutId id="2147484284" r:id="rId9"/>
    <p:sldLayoutId id="2147484285" r:id="rId10"/>
    <p:sldLayoutId id="2147484286" r:id="rId11"/>
    <p:sldLayoutId id="2147484287" r:id="rId12"/>
    <p:sldLayoutId id="2147484288" r:id="rId13"/>
    <p:sldLayoutId id="2147484289" r:id="rId14"/>
    <p:sldLayoutId id="2147484290" r:id="rId15"/>
    <p:sldLayoutId id="2147484291" r:id="rId16"/>
    <p:sldLayoutId id="2147484292" r:id="rId1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US" sz="2000" b="1" kern="1200" cap="none" baseline="0" dirty="0">
          <a:solidFill>
            <a:srgbClr val="0079C1"/>
          </a:solidFill>
          <a:effectLst/>
          <a:latin typeface="Arial" pitchFamily="34" charset="0"/>
          <a:ea typeface="ＭＳ Ｐゴシック" charset="0"/>
          <a:cs typeface="Arial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9pPr>
    </p:titleStyle>
    <p:bodyStyle>
      <a:lvl1pPr algn="l" rtl="0" eaLnBrk="1" fontAlgn="base" hangingPunct="1">
        <a:spcBef>
          <a:spcPts val="0"/>
        </a:spcBef>
        <a:spcAft>
          <a:spcPts val="300"/>
        </a:spcAft>
        <a:buFont typeface="Arial" charset="0"/>
        <a:defRPr sz="1400" b="1" kern="1200">
          <a:solidFill>
            <a:srgbClr val="00355F"/>
          </a:solidFill>
          <a:latin typeface="+mn-lt"/>
          <a:ea typeface="ＭＳ Ｐゴシック" charset="0"/>
          <a:cs typeface="ＭＳ Ｐゴシック" charset="0"/>
        </a:defRPr>
      </a:lvl1pPr>
      <a:lvl2pPr algn="l" rtl="0" eaLnBrk="1" fontAlgn="base" hangingPunct="1">
        <a:spcBef>
          <a:spcPts val="0"/>
        </a:spcBef>
        <a:spcAft>
          <a:spcPts val="300"/>
        </a:spcAft>
        <a:buFont typeface="Arial" charset="0"/>
        <a:defRPr sz="1400" b="1" kern="1200">
          <a:solidFill>
            <a:srgbClr val="000000"/>
          </a:solidFill>
          <a:latin typeface="+mn-lt"/>
          <a:ea typeface="ＭＳ Ｐゴシック" charset="0"/>
          <a:cs typeface="+mn-cs"/>
        </a:defRPr>
      </a:lvl2pPr>
      <a:lvl3pPr marL="182563" indent="-182563" algn="l" rtl="0" eaLnBrk="1" fontAlgn="base" hangingPunct="1">
        <a:spcBef>
          <a:spcPts val="0"/>
        </a:spcBef>
        <a:spcAft>
          <a:spcPts val="300"/>
        </a:spcAft>
        <a:buClr>
          <a:srgbClr val="0079C1"/>
        </a:buClr>
        <a:buSzPct val="100000"/>
        <a:buFont typeface="Arial" charset="0"/>
        <a:buChar char="●"/>
        <a:defRPr sz="1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457200" indent="-228600" algn="l" rtl="0" eaLnBrk="1" fontAlgn="base" hangingPunct="1">
        <a:spcBef>
          <a:spcPts val="0"/>
        </a:spcBef>
        <a:spcAft>
          <a:spcPts val="300"/>
        </a:spcAft>
        <a:buClr>
          <a:srgbClr val="0079C1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685800" indent="-228600" algn="l" rtl="0" eaLnBrk="1" fontAlgn="base" hangingPunct="1">
        <a:spcBef>
          <a:spcPts val="0"/>
        </a:spcBef>
        <a:spcAft>
          <a:spcPts val="300"/>
        </a:spcAft>
        <a:buClr>
          <a:srgbClr val="0079C1"/>
        </a:buClr>
        <a:buSzPct val="125000"/>
        <a:buFont typeface="Wingdings" charset="0"/>
        <a:buChar char="§"/>
        <a:defRPr sz="14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914400" indent="-228600" algn="l" defTabSz="914400" rtl="0" eaLnBrk="1" latinLnBrk="0" hangingPunct="1">
        <a:spcBef>
          <a:spcPts val="0"/>
        </a:spcBef>
        <a:spcAft>
          <a:spcPts val="300"/>
        </a:spcAft>
        <a:buClr>
          <a:srgbClr val="0079C1"/>
        </a:buClr>
        <a:buFont typeface="Courier New" pitchFamily="49" charset="0"/>
        <a:buChar char="o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914400" rtl="0" eaLnBrk="1" latinLnBrk="0" hangingPunct="1">
        <a:spcBef>
          <a:spcPts val="0"/>
        </a:spcBef>
        <a:spcAft>
          <a:spcPts val="300"/>
        </a:spcAft>
        <a:buClr>
          <a:srgbClr val="0079C1"/>
        </a:buClr>
        <a:buSzPct val="75000"/>
        <a:buFont typeface="Wingdings" pitchFamily="2" charset="2"/>
        <a:buChar char="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rgbClr val="0079C1"/>
        </a:buClr>
        <a:buSzPct val="75000"/>
        <a:buFont typeface="Wingdings" pitchFamily="2" charset="2"/>
        <a:buChar char="q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spcAft>
                <a:spcPct val="0"/>
              </a:spcAft>
              <a:buClrTx/>
              <a:buFontTx/>
              <a:buNone/>
              <a:defRPr sz="1400" b="1">
                <a:solidFill>
                  <a:srgbClr val="0079C1"/>
                </a:solidFill>
                <a:latin typeface="+mn-lt"/>
                <a:ea typeface="ＭＳ Ｐゴシック" pitchFamily="48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defRPr/>
            </a:pPr>
            <a:fld id="{14B219BB-F2BF-4B9D-ACA6-07AEB105CEA7}" type="datetime1">
              <a:rPr lang="en-US"/>
              <a:pPr fontAlgn="base">
                <a:spcBef>
                  <a:spcPct val="0"/>
                </a:spcBef>
                <a:defRPr/>
              </a:pPr>
              <a:t>6/22/2020</a:t>
            </a:fld>
            <a:endParaRPr lang="en-US" dirty="0"/>
          </a:p>
        </p:txBody>
      </p:sp>
      <p:sp>
        <p:nvSpPr>
          <p:cNvPr id="3277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spcAft>
                <a:spcPct val="0"/>
              </a:spcAft>
              <a:buClrTx/>
              <a:buFontTx/>
              <a:buNone/>
              <a:defRPr sz="1400" b="1">
                <a:solidFill>
                  <a:srgbClr val="0079C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defRPr/>
            </a:pPr>
            <a:endParaRPr lang="en-US" dirty="0"/>
          </a:p>
        </p:txBody>
      </p:sp>
      <p:sp>
        <p:nvSpPr>
          <p:cNvPr id="3277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10400" y="6496050"/>
            <a:ext cx="21336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1">
                <a:solidFill>
                  <a:srgbClr val="0079C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855155D-0A00-4FD0-8E4F-0174D780149B}" type="slidenum">
              <a:rPr lang="en-US" alt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700088" y="1382713"/>
            <a:ext cx="7999412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30" name="Picture 4" descr="NG logo small.ai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6388" y="265113"/>
            <a:ext cx="21717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762000"/>
            <a:ext cx="614997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3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485900"/>
            <a:ext cx="8089900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6874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1" r:id="rId1"/>
    <p:sldLayoutId id="2147484302" r:id="rId2"/>
    <p:sldLayoutId id="2147484303" r:id="rId3"/>
    <p:sldLayoutId id="2147484304" r:id="rId4"/>
    <p:sldLayoutId id="2147484305" r:id="rId5"/>
    <p:sldLayoutId id="2147484306" r:id="rId6"/>
    <p:sldLayoutId id="2147484307" r:id="rId7"/>
    <p:sldLayoutId id="2147484308" r:id="rId8"/>
    <p:sldLayoutId id="2147484309" r:id="rId9"/>
    <p:sldLayoutId id="2147484310" r:id="rId10"/>
    <p:sldLayoutId id="2147484311" r:id="rId11"/>
    <p:sldLayoutId id="2147484312" r:id="rId12"/>
    <p:sldLayoutId id="2147484313" r:id="rId13"/>
    <p:sldLayoutId id="2147484314" r:id="rId14"/>
    <p:sldLayoutId id="2147484315" r:id="rId1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+mj-lt"/>
          <a:ea typeface="MS PGothic" pitchFamily="34" charset="-128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MS PGothic" pitchFamily="34" charset="-128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MS PGothic" pitchFamily="34" charset="-128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MS PGothic" pitchFamily="34" charset="-128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MS PGothic" pitchFamily="34" charset="-128"/>
          <a:cs typeface="ＭＳ Ｐゴシック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400">
          <a:solidFill>
            <a:schemeClr val="tx2"/>
          </a:solidFill>
          <a:latin typeface="+mn-lt"/>
          <a:ea typeface="MS PGothic" pitchFamily="34" charset="-128"/>
          <a:cs typeface="ＭＳ Ｐゴシック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MS PGothic" pitchFamily="34" charset="-128"/>
          <a:cs typeface="ＭＳ Ｐゴシック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MS PGothic" pitchFamily="34" charset="-128"/>
          <a:cs typeface="ＭＳ Ｐゴシック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MS PGothic" pitchFamily="34" charset="-128"/>
          <a:cs typeface="ＭＳ Ｐゴシック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MS PGothic" pitchFamily="34" charset="-128"/>
          <a:cs typeface="ＭＳ Ｐゴシック"/>
        </a:defRPr>
      </a:lvl5pPr>
      <a:lvl6pPr marL="25146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idx="1"/>
          </p:nvPr>
        </p:nvSpPr>
        <p:spPr>
          <a:xfrm>
            <a:off x="577850" y="823913"/>
            <a:ext cx="8108950" cy="54816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 (arial-bold-14pt)</a:t>
            </a:r>
          </a:p>
          <a:p>
            <a:pPr lvl="1"/>
            <a:r>
              <a:rPr lang="en-US" dirty="0"/>
              <a:t>Second level (Arial-12pt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</p:txBody>
      </p:sp>
      <p:sp>
        <p:nvSpPr>
          <p:cNvPr id="1027" name="Rectangle 17" descr="Title goes here: Helvetica 24"/>
          <p:cNvSpPr>
            <a:spLocks noGrp="1" noChangeArrowheads="1"/>
          </p:cNvSpPr>
          <p:nvPr>
            <p:ph type="title"/>
          </p:nvPr>
        </p:nvSpPr>
        <p:spPr bwMode="auto">
          <a:xfrm>
            <a:off x="581025" y="152400"/>
            <a:ext cx="8105775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TITLE SUBHEAD (Make subhead black font bold)</a:t>
            </a:r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0" y="6457950"/>
            <a:ext cx="9144000" cy="0"/>
          </a:xfrm>
          <a:prstGeom prst="line">
            <a:avLst/>
          </a:prstGeom>
          <a:ln w="19050">
            <a:solidFill>
              <a:srgbClr val="0079C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9" name="Picture 7" descr="LOGO_NG_HWHFY_PMS300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7440613" y="247650"/>
            <a:ext cx="122396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97706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6" r:id="rId1"/>
    <p:sldLayoutId id="2147484327" r:id="rId2"/>
    <p:sldLayoutId id="2147484328" r:id="rId3"/>
    <p:sldLayoutId id="2147484329" r:id="rId4"/>
    <p:sldLayoutId id="2147484330" r:id="rId5"/>
    <p:sldLayoutId id="2147484331" r:id="rId6"/>
    <p:sldLayoutId id="2147484332" r:id="rId7"/>
    <p:sldLayoutId id="2147484333" r:id="rId8"/>
    <p:sldLayoutId id="2147484334" r:id="rId9"/>
    <p:sldLayoutId id="2147484335" r:id="rId10"/>
    <p:sldLayoutId id="2147484336" r:id="rId11"/>
    <p:sldLayoutId id="2147484337" r:id="rId12"/>
    <p:sldLayoutId id="2147484338" r:id="rId13"/>
    <p:sldLayoutId id="2147484339" r:id="rId14"/>
    <p:sldLayoutId id="2147484340" r:id="rId15"/>
    <p:sldLayoutId id="2147484341" r:id="rId16"/>
    <p:sldLayoutId id="2147484342" r:id="rId1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2000" b="1" kern="1200" dirty="0">
          <a:solidFill>
            <a:srgbClr val="0079C1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9C1"/>
          </a:solidFill>
          <a:latin typeface="Arial" charset="0"/>
          <a:ea typeface="ＭＳ Ｐゴシック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9C1"/>
          </a:solidFill>
          <a:latin typeface="Arial" charset="0"/>
          <a:ea typeface="ＭＳ Ｐゴシック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9C1"/>
          </a:solidFill>
          <a:latin typeface="Arial" charset="0"/>
          <a:ea typeface="ＭＳ Ｐゴシック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9C1"/>
          </a:solidFill>
          <a:latin typeface="Arial" charset="0"/>
          <a:ea typeface="ＭＳ Ｐゴシック" charset="0"/>
          <a:cs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>
          <a:solidFill>
            <a:schemeClr val="accent2"/>
          </a:solidFill>
          <a:latin typeface="Arial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ts val="300"/>
        </a:spcAft>
        <a:buFont typeface="Arial" charset="0"/>
        <a:defRPr sz="1400" b="1" kern="1200">
          <a:solidFill>
            <a:srgbClr val="00355F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0"/>
        </a:spcBef>
        <a:spcAft>
          <a:spcPts val="300"/>
        </a:spcAft>
        <a:buFont typeface="Arial" charset="0"/>
        <a:defRPr sz="1400" b="1" kern="1200">
          <a:solidFill>
            <a:srgbClr val="000000"/>
          </a:solidFill>
          <a:latin typeface="+mn-lt"/>
          <a:ea typeface="ＭＳ Ｐゴシック" charset="0"/>
          <a:cs typeface="ＭＳ Ｐゴシック"/>
        </a:defRPr>
      </a:lvl2pPr>
      <a:lvl3pPr marL="182563" indent="-182563" algn="l" rtl="0" eaLnBrk="0" fontAlgn="base" hangingPunct="0">
        <a:spcBef>
          <a:spcPct val="0"/>
        </a:spcBef>
        <a:spcAft>
          <a:spcPts val="300"/>
        </a:spcAft>
        <a:buClr>
          <a:srgbClr val="0079C1"/>
        </a:buClr>
        <a:buSzPct val="100000"/>
        <a:buFont typeface="Arial" charset="0"/>
        <a:buChar char="●"/>
        <a:defRPr sz="14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3pPr>
      <a:lvl4pPr marL="457200" indent="-228600" algn="l" rtl="0" eaLnBrk="0" fontAlgn="base" hangingPunct="0">
        <a:spcBef>
          <a:spcPct val="0"/>
        </a:spcBef>
        <a:spcAft>
          <a:spcPts val="300"/>
        </a:spcAft>
        <a:buClr>
          <a:srgbClr val="0079C1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4pPr>
      <a:lvl5pPr marL="685800" indent="-228600" algn="l" rtl="0" eaLnBrk="0" fontAlgn="base" hangingPunct="0">
        <a:spcBef>
          <a:spcPct val="0"/>
        </a:spcBef>
        <a:spcAft>
          <a:spcPts val="300"/>
        </a:spcAft>
        <a:buClr>
          <a:srgbClr val="0079C1"/>
        </a:buClr>
        <a:buSzPct val="125000"/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5pPr>
      <a:lvl6pPr marL="914400" indent="-228600" algn="l" defTabSz="914400" rtl="0" eaLnBrk="1" latinLnBrk="0" hangingPunct="1">
        <a:spcBef>
          <a:spcPts val="0"/>
        </a:spcBef>
        <a:spcAft>
          <a:spcPts val="300"/>
        </a:spcAft>
        <a:buClr>
          <a:srgbClr val="0079C1"/>
        </a:buClr>
        <a:buFont typeface="Courier New" pitchFamily="49" charset="0"/>
        <a:buChar char="o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914400" rtl="0" eaLnBrk="1" latinLnBrk="0" hangingPunct="1">
        <a:spcBef>
          <a:spcPts val="0"/>
        </a:spcBef>
        <a:spcAft>
          <a:spcPts val="300"/>
        </a:spcAft>
        <a:buClr>
          <a:srgbClr val="0079C1"/>
        </a:buClr>
        <a:buSzPct val="75000"/>
        <a:buFont typeface="Wingdings" pitchFamily="2" charset="2"/>
        <a:buChar char="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rgbClr val="0079C1"/>
        </a:buClr>
        <a:buSzPct val="75000"/>
        <a:buFont typeface="Wingdings" pitchFamily="2" charset="2"/>
        <a:buChar char="q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75D68A-FB04-45EF-8892-AD1CD53191CB}"/>
              </a:ext>
            </a:extLst>
          </p:cNvPr>
          <p:cNvSpPr>
            <a:spLocks noGrp="1"/>
          </p:cNvSpPr>
          <p:nvPr>
            <p:ph type="ctrTitle" sz="quarter"/>
          </p:nvPr>
        </p:nvSpPr>
        <p:spPr>
          <a:xfrm>
            <a:off x="593725" y="1199296"/>
            <a:ext cx="8043863" cy="800219"/>
          </a:xfrm>
        </p:spPr>
        <p:txBody>
          <a:bodyPr/>
          <a:lstStyle/>
          <a:p>
            <a:r>
              <a:rPr lang="en-US" dirty="0"/>
              <a:t>Customer Data Management </a:t>
            </a:r>
            <a:br>
              <a:rPr lang="en-US" dirty="0"/>
            </a:br>
            <a:r>
              <a:rPr lang="en-US" sz="1800" dirty="0"/>
              <a:t>BMS Compliance Framework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8A32FA-2B7E-4CCB-AFC1-094830540831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571500" y="2882900"/>
            <a:ext cx="8043863" cy="1384300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b="1" dirty="0"/>
          </a:p>
          <a:p>
            <a:r>
              <a:rPr lang="en-US" b="1" dirty="0"/>
              <a:t>June 2020</a:t>
            </a:r>
          </a:p>
        </p:txBody>
      </p:sp>
    </p:spTree>
    <p:extLst>
      <p:ext uri="{BB962C8B-B14F-4D97-AF65-F5344CB8AC3E}">
        <p14:creationId xmlns:p14="http://schemas.microsoft.com/office/powerpoint/2010/main" val="21161624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MS Compliance Approac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2C5EFB-4D23-4208-8647-3E7A700FE299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2C860FB-F174-47DC-96E8-84D9BE0063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725" y="1549528"/>
            <a:ext cx="8093076" cy="5003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0366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iance Requirements Objective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23034531"/>
              </p:ext>
            </p:extLst>
          </p:nvPr>
        </p:nvGraphicFramePr>
        <p:xfrm>
          <a:off x="152400" y="2133599"/>
          <a:ext cx="2895600" cy="35052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2C5EFB-4D23-4208-8647-3E7A700FE299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: Rounded Corners 7"/>
          <p:cNvSpPr/>
          <p:nvPr/>
        </p:nvSpPr>
        <p:spPr bwMode="auto">
          <a:xfrm>
            <a:off x="3174499" y="1828800"/>
            <a:ext cx="1463040" cy="64008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48" charset="-128"/>
              </a:rPr>
              <a:t>Identification of Key Data / Information</a:t>
            </a:r>
          </a:p>
        </p:txBody>
      </p:sp>
      <p:sp>
        <p:nvSpPr>
          <p:cNvPr id="9" name="Rectangle: Rounded Corners 8"/>
          <p:cNvSpPr/>
          <p:nvPr/>
        </p:nvSpPr>
        <p:spPr bwMode="auto">
          <a:xfrm>
            <a:off x="3174499" y="3429000"/>
            <a:ext cx="1463040" cy="64008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>
                <a:solidFill>
                  <a:schemeClr val="bg1"/>
                </a:solidFill>
                <a:latin typeface="Arial" charset="0"/>
                <a:ea typeface="ＭＳ Ｐゴシック" pitchFamily="48" charset="-128"/>
              </a:rPr>
              <a:t>Lineage</a:t>
            </a:r>
            <a:endParaRPr kumimoji="0" lang="en-US" sz="120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48" charset="-128"/>
            </a:endParaRPr>
          </a:p>
        </p:txBody>
      </p:sp>
      <p:sp>
        <p:nvSpPr>
          <p:cNvPr id="10" name="Rectangle: Rounded Corners 9"/>
          <p:cNvSpPr/>
          <p:nvPr/>
        </p:nvSpPr>
        <p:spPr bwMode="auto">
          <a:xfrm>
            <a:off x="3154362" y="2636520"/>
            <a:ext cx="1463040" cy="64008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48" charset="-128"/>
              </a:rPr>
              <a:t>Business Accountability &amp; Contex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40873" y="1821359"/>
            <a:ext cx="415072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Identify key applications in support of Customer domai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Identification of Extracts from the applic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Data Elements level information identific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Identify Key Publications / Reports</a:t>
            </a:r>
          </a:p>
        </p:txBody>
      </p:sp>
      <p:sp>
        <p:nvSpPr>
          <p:cNvPr id="12" name="Rectangle: Rounded Corners 11"/>
          <p:cNvSpPr/>
          <p:nvPr/>
        </p:nvSpPr>
        <p:spPr bwMode="auto">
          <a:xfrm>
            <a:off x="3174499" y="4267200"/>
            <a:ext cx="1463040" cy="64008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>
                <a:solidFill>
                  <a:schemeClr val="bg1"/>
                </a:solidFill>
                <a:latin typeface="Arial" charset="0"/>
                <a:ea typeface="ＭＳ Ｐゴシック" pitchFamily="48" charset="-128"/>
              </a:rPr>
              <a:t>Authoritative Sources</a:t>
            </a:r>
            <a:endParaRPr kumimoji="0" lang="en-US" sz="120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48" charset="-128"/>
            </a:endParaRPr>
          </a:p>
        </p:txBody>
      </p:sp>
      <p:sp>
        <p:nvSpPr>
          <p:cNvPr id="13" name="Rectangle: Rounded Corners 12"/>
          <p:cNvSpPr/>
          <p:nvPr/>
        </p:nvSpPr>
        <p:spPr bwMode="auto">
          <a:xfrm>
            <a:off x="3174499" y="5151120"/>
            <a:ext cx="1463040" cy="64008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>
                <a:solidFill>
                  <a:schemeClr val="bg1"/>
                </a:solidFill>
                <a:latin typeface="Arial" charset="0"/>
                <a:ea typeface="ＭＳ Ｐゴシック" pitchFamily="48" charset="-128"/>
              </a:rPr>
              <a:t>Data Quality Issue Tracking</a:t>
            </a:r>
            <a:endParaRPr kumimoji="0" lang="en-US" sz="120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48" charset="-128"/>
            </a:endParaRPr>
          </a:p>
        </p:txBody>
      </p:sp>
      <p:sp>
        <p:nvSpPr>
          <p:cNvPr id="14" name="Rectangle: Rounded Corners 13"/>
          <p:cNvSpPr/>
          <p:nvPr/>
        </p:nvSpPr>
        <p:spPr bwMode="auto">
          <a:xfrm>
            <a:off x="3174499" y="5989320"/>
            <a:ext cx="1463040" cy="64008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>
                <a:solidFill>
                  <a:schemeClr val="bg1"/>
                </a:solidFill>
                <a:latin typeface="Arial" charset="0"/>
                <a:ea typeface="ＭＳ Ｐゴシック" pitchFamily="48" charset="-128"/>
              </a:rPr>
              <a:t>Data Quality Controls &amp; Oversight</a:t>
            </a:r>
            <a:endParaRPr kumimoji="0" lang="en-US" sz="120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48" charset="-128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840873" y="2667000"/>
            <a:ext cx="418665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Identify Data owners / Data Stewar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Identify key publications / reports owner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800600" y="3421559"/>
            <a:ext cx="4267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Phased approach for lineage development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100" dirty="0"/>
              <a:t>Application Level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100" dirty="0"/>
              <a:t>Extract Level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100" dirty="0"/>
              <a:t>Data Element Level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800600" y="4259759"/>
            <a:ext cx="4267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Assess use of authoritative sources in key repor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Opportunities to use authoritative data sources identified and assess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Use of authoritative sources implemented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800600" y="5097959"/>
            <a:ext cx="4267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Basic data quality issue track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Quality issues attributed to key publications / repor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Implementation of enhanced data quality issue attribution, root cause analysis, and remediat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800600" y="6029236"/>
            <a:ext cx="426720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Ensure quality assessment and feedback loop in place with consumers of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Opportunity to enhance existing controls identified</a:t>
            </a:r>
          </a:p>
        </p:txBody>
      </p:sp>
      <p:cxnSp>
        <p:nvCxnSpPr>
          <p:cNvPr id="21" name="Straight Connector 20"/>
          <p:cNvCxnSpPr/>
          <p:nvPr/>
        </p:nvCxnSpPr>
        <p:spPr bwMode="auto">
          <a:xfrm>
            <a:off x="3174499" y="2590800"/>
            <a:ext cx="581710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/>
          <p:cNvCxnSpPr/>
          <p:nvPr/>
        </p:nvCxnSpPr>
        <p:spPr bwMode="auto">
          <a:xfrm>
            <a:off x="3174499" y="3352800"/>
            <a:ext cx="577682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/>
          <p:cNvCxnSpPr/>
          <p:nvPr/>
        </p:nvCxnSpPr>
        <p:spPr bwMode="auto">
          <a:xfrm>
            <a:off x="3154362" y="4191000"/>
            <a:ext cx="57610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/>
          <p:cNvCxnSpPr/>
          <p:nvPr/>
        </p:nvCxnSpPr>
        <p:spPr bwMode="auto">
          <a:xfrm>
            <a:off x="3174499" y="5029200"/>
            <a:ext cx="570062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Connector 24"/>
          <p:cNvCxnSpPr/>
          <p:nvPr/>
        </p:nvCxnSpPr>
        <p:spPr bwMode="auto">
          <a:xfrm>
            <a:off x="3154362" y="5867400"/>
            <a:ext cx="572076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TextBox 33"/>
          <p:cNvSpPr txBox="1"/>
          <p:nvPr/>
        </p:nvSpPr>
        <p:spPr>
          <a:xfrm>
            <a:off x="4840873" y="1399401"/>
            <a:ext cx="41507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Core Objectives 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792873" y="1367135"/>
            <a:ext cx="41507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Requirements </a:t>
            </a:r>
          </a:p>
          <a:p>
            <a:pPr algn="ctr"/>
            <a:r>
              <a:rPr lang="en-US" sz="1200" b="1" dirty="0"/>
              <a:t>Category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52400" y="1367135"/>
            <a:ext cx="3022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BMS Compliance </a:t>
            </a:r>
          </a:p>
          <a:p>
            <a:pPr algn="ctr"/>
            <a:r>
              <a:rPr lang="en-US" sz="1200" b="1" dirty="0"/>
              <a:t>Requirements</a:t>
            </a:r>
          </a:p>
        </p:txBody>
      </p:sp>
      <p:cxnSp>
        <p:nvCxnSpPr>
          <p:cNvPr id="38" name="Straight Connector 37"/>
          <p:cNvCxnSpPr/>
          <p:nvPr/>
        </p:nvCxnSpPr>
        <p:spPr bwMode="auto">
          <a:xfrm>
            <a:off x="3048000" y="1828800"/>
            <a:ext cx="0" cy="48006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Arrow: Right 41"/>
          <p:cNvSpPr/>
          <p:nvPr/>
        </p:nvSpPr>
        <p:spPr bwMode="auto">
          <a:xfrm>
            <a:off x="2667000" y="1447800"/>
            <a:ext cx="381000" cy="276999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cap="none" normalizeH="0" baseline="0" dirty="0">
              <a:ln>
                <a:noFill/>
              </a:ln>
              <a:solidFill>
                <a:srgbClr val="0079C1"/>
              </a:solidFill>
              <a:effectLst/>
              <a:latin typeface="Arial" charset="0"/>
              <a:ea typeface="ＭＳ Ｐゴシック" pitchFamily="48" charset="-128"/>
            </a:endParaRPr>
          </a:p>
        </p:txBody>
      </p:sp>
      <p:sp>
        <p:nvSpPr>
          <p:cNvPr id="43" name="Arrow: Right 42"/>
          <p:cNvSpPr/>
          <p:nvPr/>
        </p:nvSpPr>
        <p:spPr bwMode="auto">
          <a:xfrm>
            <a:off x="4724400" y="1447800"/>
            <a:ext cx="381000" cy="276999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cap="none" normalizeH="0" baseline="0" dirty="0">
              <a:ln>
                <a:noFill/>
              </a:ln>
              <a:solidFill>
                <a:srgbClr val="0079C1"/>
              </a:solidFill>
              <a:effectLst/>
              <a:latin typeface="Arial" charset="0"/>
              <a:ea typeface="ＭＳ Ｐゴシック" pitchFamily="4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403319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6C0383-D3AC-447E-A41E-9A220BEE84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Management Dimens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B15790-F095-4D50-B825-7B75C2B875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2C5EFB-4D23-4208-8647-3E7A700FE299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A3AAB82-0AD6-4D7E-954A-58CF119AB7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1447799"/>
            <a:ext cx="8762999" cy="5273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1273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27ED34-BAF2-4435-8B51-E8EC33579D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725" y="819448"/>
            <a:ext cx="8093075" cy="461665"/>
          </a:xfrm>
        </p:spPr>
        <p:txBody>
          <a:bodyPr/>
          <a:lstStyle/>
          <a:p>
            <a:r>
              <a:rPr lang="en-US" sz="2400" dirty="0"/>
              <a:t>Data Management Dimensions – Integrated Vie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1B8FBB-2F83-48C7-BFA3-30BCAC0A66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2C5EFB-4D23-4208-8647-3E7A700FE299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0A2886C-2133-4817-9043-57B0A2B89C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973" y="1447799"/>
            <a:ext cx="8722427" cy="5273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9038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NG Blank">
  <a:themeElements>
    <a:clrScheme name="NG 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G 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>
          <a:defRPr sz="1600" b="1" dirty="0" smtClean="0">
            <a:solidFill>
              <a:schemeClr val="bg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</a:objectDefaults>
  <a:extraClrSchemeLst>
    <a:extraClrScheme>
      <a:clrScheme name="NG 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_AM_Template_Dec2013">
  <a:themeElements>
    <a:clrScheme name="AM Corporate Colors">
      <a:dk1>
        <a:srgbClr val="000000"/>
      </a:dk1>
      <a:lt1>
        <a:srgbClr val="FFFFFF"/>
      </a:lt1>
      <a:dk2>
        <a:srgbClr val="5E8AB4"/>
      </a:dk2>
      <a:lt2>
        <a:srgbClr val="969696"/>
      </a:lt2>
      <a:accent1>
        <a:srgbClr val="002B49"/>
      </a:accent1>
      <a:accent2>
        <a:srgbClr val="646464"/>
      </a:accent2>
      <a:accent3>
        <a:srgbClr val="0085CA"/>
      </a:accent3>
      <a:accent4>
        <a:srgbClr val="582C83"/>
      </a:accent4>
      <a:accent5>
        <a:srgbClr val="00677F"/>
      </a:accent5>
      <a:accent6>
        <a:srgbClr val="D9D9D9"/>
      </a:accent6>
      <a:hlink>
        <a:srgbClr val="CF7F00"/>
      </a:hlink>
      <a:folHlink>
        <a:srgbClr val="4C8C2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3_AM_Template_Dec2013">
  <a:themeElements>
    <a:clrScheme name="AM Corporate Colors">
      <a:dk1>
        <a:srgbClr val="000000"/>
      </a:dk1>
      <a:lt1>
        <a:srgbClr val="FFFFFF"/>
      </a:lt1>
      <a:dk2>
        <a:srgbClr val="5E8AB4"/>
      </a:dk2>
      <a:lt2>
        <a:srgbClr val="969696"/>
      </a:lt2>
      <a:accent1>
        <a:srgbClr val="002B49"/>
      </a:accent1>
      <a:accent2>
        <a:srgbClr val="646464"/>
      </a:accent2>
      <a:accent3>
        <a:srgbClr val="0085CA"/>
      </a:accent3>
      <a:accent4>
        <a:srgbClr val="582C83"/>
      </a:accent4>
      <a:accent5>
        <a:srgbClr val="00677F"/>
      </a:accent5>
      <a:accent6>
        <a:srgbClr val="D9D9D9"/>
      </a:accent6>
      <a:hlink>
        <a:srgbClr val="CF7F00"/>
      </a:hlink>
      <a:folHlink>
        <a:srgbClr val="4C8C2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2012.04.10 My New Template">
  <a:themeElements>
    <a:clrScheme name="2012.04.10 My New Template 1">
      <a:dk1>
        <a:srgbClr val="000000"/>
      </a:dk1>
      <a:lt1>
        <a:srgbClr val="FFFFFF"/>
      </a:lt1>
      <a:dk2>
        <a:srgbClr val="0079C1"/>
      </a:dk2>
      <a:lt2>
        <a:srgbClr val="808080"/>
      </a:lt2>
      <a:accent1>
        <a:srgbClr val="9DCCFE"/>
      </a:accent1>
      <a:accent2>
        <a:srgbClr val="0079C1"/>
      </a:accent2>
      <a:accent3>
        <a:srgbClr val="FFFFFF"/>
      </a:accent3>
      <a:accent4>
        <a:srgbClr val="000000"/>
      </a:accent4>
      <a:accent5>
        <a:srgbClr val="CCE2FE"/>
      </a:accent5>
      <a:accent6>
        <a:srgbClr val="006DAF"/>
      </a:accent6>
      <a:hlink>
        <a:srgbClr val="F96812"/>
      </a:hlink>
      <a:folHlink>
        <a:srgbClr val="99CC12"/>
      </a:folHlink>
    </a:clrScheme>
    <a:fontScheme name="2012.04.10 My New Template">
      <a:majorFont>
        <a:latin typeface="Arial"/>
        <a:ea typeface="MS PGothic"/>
        <a:cs typeface="MS PGothic"/>
      </a:majorFont>
      <a:minorFont>
        <a:latin typeface="Arial"/>
        <a:ea typeface="MS PGothic"/>
        <a:cs typeface="MS PGothic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12.04.10 My New Template 1">
        <a:dk1>
          <a:srgbClr val="000000"/>
        </a:dk1>
        <a:lt1>
          <a:srgbClr val="FFFFFF"/>
        </a:lt1>
        <a:dk2>
          <a:srgbClr val="0079C1"/>
        </a:dk2>
        <a:lt2>
          <a:srgbClr val="808080"/>
        </a:lt2>
        <a:accent1>
          <a:srgbClr val="9DCCFE"/>
        </a:accent1>
        <a:accent2>
          <a:srgbClr val="0079C1"/>
        </a:accent2>
        <a:accent3>
          <a:srgbClr val="FFFFFF"/>
        </a:accent3>
        <a:accent4>
          <a:srgbClr val="000000"/>
        </a:accent4>
        <a:accent5>
          <a:srgbClr val="CCE2FE"/>
        </a:accent5>
        <a:accent6>
          <a:srgbClr val="006DAF"/>
        </a:accent6>
        <a:hlink>
          <a:srgbClr val="F96812"/>
        </a:hlink>
        <a:folHlink>
          <a:srgbClr val="99CC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2_NG Blank">
  <a:themeElements>
    <a:clrScheme name="NG 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G 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</a:objectDefaults>
  <a:extraClrSchemeLst>
    <a:extraClrScheme>
      <a:clrScheme name="NG 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2_national_grid[1]">
  <a:themeElements>
    <a:clrScheme name="national_grid[1]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ational_grid[1]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spDef>
    <a:lnDef>
      <a:spPr bwMode="auto">
        <a:solidFill>
          <a:schemeClr val="accent1"/>
        </a:solidFill>
        <a:ln w="317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national_grid[1]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national_grid[2]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national_grid[2]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national_grid[2]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national_grid">
  <a:themeElements>
    <a:clrScheme name="national_grid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ational_grid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-109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-109" charset="-128"/>
          </a:defRPr>
        </a:defPPr>
      </a:lstStyle>
    </a:lnDef>
  </a:objectDefaults>
  <a:extraClrSchemeLst>
    <a:extraClrScheme>
      <a:clrScheme name="national_gr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_national_grid">
  <a:themeElements>
    <a:clrScheme name="national_grid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ational_grid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-109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-109" charset="-128"/>
          </a:defRPr>
        </a:defPPr>
      </a:lstStyle>
    </a:lnDef>
  </a:objectDefaults>
  <a:extraClrSchemeLst>
    <a:extraClrScheme>
      <a:clrScheme name="national_gr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2_GroupStrategy">
  <a:themeElements>
    <a:clrScheme name="Thinkcell conservative July 2015">
      <a:dk1>
        <a:srgbClr val="000000"/>
      </a:dk1>
      <a:lt1>
        <a:srgbClr val="FFFFFF"/>
      </a:lt1>
      <a:dk2>
        <a:srgbClr val="1F497D"/>
      </a:dk2>
      <a:lt2>
        <a:srgbClr val="10253F"/>
      </a:lt2>
      <a:accent1>
        <a:srgbClr val="C6D9F1"/>
      </a:accent1>
      <a:accent2>
        <a:srgbClr val="8EB4E3"/>
      </a:accent2>
      <a:accent3>
        <a:srgbClr val="BFBFBF"/>
      </a:accent3>
      <a:accent4>
        <a:srgbClr val="7F7F7F"/>
      </a:accent4>
      <a:accent5>
        <a:srgbClr val="E36C09"/>
      </a:accent5>
      <a:accent6>
        <a:srgbClr val="F79646"/>
      </a:accent6>
      <a:hlink>
        <a:srgbClr val="558ED5"/>
      </a:hlink>
      <a:folHlink>
        <a:srgbClr val="17375E"/>
      </a:folHlink>
    </a:clrScheme>
    <a:fontScheme name="Custom 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>
          <a:noFill/>
        </a:ln>
        <a:ex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000" dirty="0" err="1" smtClean="0">
            <a:solidFill>
              <a:schemeClr val="tx1"/>
            </a:solidFill>
          </a:defRPr>
        </a:defPPr>
      </a:lst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marL="171450" indent="-171450" algn="l">
          <a:spcBef>
            <a:spcPts val="600"/>
          </a:spcBef>
          <a:buFont typeface="Wingdings" pitchFamily="2" charset="2"/>
          <a:buChar char="§"/>
          <a:defRPr sz="1000" dirty="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1_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6_GroupStrategy">
  <a:themeElements>
    <a:clrScheme name="Thinkcell conservative July 2015">
      <a:dk1>
        <a:srgbClr val="000000"/>
      </a:dk1>
      <a:lt1>
        <a:srgbClr val="FFFFFF"/>
      </a:lt1>
      <a:dk2>
        <a:srgbClr val="1F497D"/>
      </a:dk2>
      <a:lt2>
        <a:srgbClr val="10253F"/>
      </a:lt2>
      <a:accent1>
        <a:srgbClr val="C6D9F1"/>
      </a:accent1>
      <a:accent2>
        <a:srgbClr val="8EB4E3"/>
      </a:accent2>
      <a:accent3>
        <a:srgbClr val="BFBFBF"/>
      </a:accent3>
      <a:accent4>
        <a:srgbClr val="7F7F7F"/>
      </a:accent4>
      <a:accent5>
        <a:srgbClr val="E36C09"/>
      </a:accent5>
      <a:accent6>
        <a:srgbClr val="F79646"/>
      </a:accent6>
      <a:hlink>
        <a:srgbClr val="558ED5"/>
      </a:hlink>
      <a:folHlink>
        <a:srgbClr val="17375E"/>
      </a:folHlink>
    </a:clrScheme>
    <a:fontScheme name="Custom 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>
          <a:noFill/>
        </a:ln>
        <a:ex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000" dirty="0" err="1" smtClean="0">
            <a:solidFill>
              <a:schemeClr val="tx1"/>
            </a:solidFill>
          </a:defRPr>
        </a:defPPr>
      </a:lst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marL="171450" indent="-171450" algn="l">
          <a:spcBef>
            <a:spcPts val="600"/>
          </a:spcBef>
          <a:buFont typeface="Wingdings" pitchFamily="2" charset="2"/>
          <a:buChar char="§"/>
          <a:defRPr sz="1000" dirty="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1_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NG Blank">
  <a:themeElements>
    <a:clrScheme name="NG 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G 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>
          <a:defRPr sz="1600" b="1" dirty="0" smtClean="0">
            <a:solidFill>
              <a:schemeClr val="bg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</a:objectDefaults>
  <a:extraClrSchemeLst>
    <a:extraClrScheme>
      <a:clrScheme name="NG 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6_NG Blank">
  <a:themeElements>
    <a:clrScheme name="NG 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G 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>
          <a:defRPr sz="1600" b="1" dirty="0" smtClean="0">
            <a:solidFill>
              <a:schemeClr val="bg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</a:objectDefaults>
  <a:extraClrSchemeLst>
    <a:extraClrScheme>
      <a:clrScheme name="NG 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NG Blank">
  <a:themeElements>
    <a:clrScheme name="NG 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G 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</a:objectDefaults>
  <a:extraClrSchemeLst>
    <a:extraClrScheme>
      <a:clrScheme name="NG 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NG Blank">
  <a:themeElements>
    <a:clrScheme name="NG 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G 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</a:objectDefaults>
  <a:extraClrSchemeLst>
    <a:extraClrScheme>
      <a:clrScheme name="NG 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8_NG Blank">
  <a:themeElements>
    <a:clrScheme name="NG 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G 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>
          <a:defRPr sz="1600" b="1" dirty="0" smtClean="0">
            <a:solidFill>
              <a:schemeClr val="bg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</a:objectDefaults>
  <a:extraClrSchemeLst>
    <a:extraClrScheme>
      <a:clrScheme name="NG 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AM_Template_Dec2013">
  <a:themeElements>
    <a:clrScheme name="AM Corporate Colors">
      <a:dk1>
        <a:srgbClr val="000000"/>
      </a:dk1>
      <a:lt1>
        <a:srgbClr val="FFFFFF"/>
      </a:lt1>
      <a:dk2>
        <a:srgbClr val="5E8AB4"/>
      </a:dk2>
      <a:lt2>
        <a:srgbClr val="969696"/>
      </a:lt2>
      <a:accent1>
        <a:srgbClr val="002B49"/>
      </a:accent1>
      <a:accent2>
        <a:srgbClr val="646464"/>
      </a:accent2>
      <a:accent3>
        <a:srgbClr val="0085CA"/>
      </a:accent3>
      <a:accent4>
        <a:srgbClr val="582C83"/>
      </a:accent4>
      <a:accent5>
        <a:srgbClr val="00677F"/>
      </a:accent5>
      <a:accent6>
        <a:srgbClr val="D9D9D9"/>
      </a:accent6>
      <a:hlink>
        <a:srgbClr val="CF7F00"/>
      </a:hlink>
      <a:folHlink>
        <a:srgbClr val="4C8C2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NG Photo">
  <a:themeElements>
    <a:clrScheme name="NG Phot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AM_Template_Dec2013">
  <a:themeElements>
    <a:clrScheme name="AM Corporate Colors">
      <a:dk1>
        <a:srgbClr val="000000"/>
      </a:dk1>
      <a:lt1>
        <a:srgbClr val="FFFFFF"/>
      </a:lt1>
      <a:dk2>
        <a:srgbClr val="5E8AB4"/>
      </a:dk2>
      <a:lt2>
        <a:srgbClr val="969696"/>
      </a:lt2>
      <a:accent1>
        <a:srgbClr val="002B49"/>
      </a:accent1>
      <a:accent2>
        <a:srgbClr val="646464"/>
      </a:accent2>
      <a:accent3>
        <a:srgbClr val="0085CA"/>
      </a:accent3>
      <a:accent4>
        <a:srgbClr val="582C83"/>
      </a:accent4>
      <a:accent5>
        <a:srgbClr val="00677F"/>
      </a:accent5>
      <a:accent6>
        <a:srgbClr val="D9D9D9"/>
      </a:accent6>
      <a:hlink>
        <a:srgbClr val="CF7F00"/>
      </a:hlink>
      <a:folHlink>
        <a:srgbClr val="4C8C2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AD993A66FA0547A4EF2EC601C0C7DC" ma:contentTypeVersion="0" ma:contentTypeDescription="Create a new document." ma:contentTypeScope="" ma:versionID="dad4adecf7879fdf25913755eb9335e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8F3E193-C703-449F-9FFE-E38C8E27F00F}">
  <ds:schemaRefs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dcmitype/"/>
    <ds:schemaRef ds:uri="http://schemas.openxmlformats.org/package/2006/metadata/core-properties"/>
    <ds:schemaRef ds:uri="http://purl.org/dc/terms/"/>
    <ds:schemaRef ds:uri="http://purl.org/dc/elements/1.1/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52026AB-EC91-4F42-B918-2D1498AD6F9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87B8BBC-D445-45C4-A1BF-26D441FB698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7350</TotalTime>
  <Words>201</Words>
  <Application>Microsoft Office PowerPoint</Application>
  <PresentationFormat>On-screen Show (4:3)</PresentationFormat>
  <Paragraphs>51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31" baseType="lpstr">
      <vt:lpstr>Arial</vt:lpstr>
      <vt:lpstr>Calibri</vt:lpstr>
      <vt:lpstr>Courier New</vt:lpstr>
      <vt:lpstr>Lucida Grande</vt:lpstr>
      <vt:lpstr>Wingdings</vt:lpstr>
      <vt:lpstr>Wingdings 2</vt:lpstr>
      <vt:lpstr>5_NG Blank</vt:lpstr>
      <vt:lpstr>4_NG Blank</vt:lpstr>
      <vt:lpstr>6_NG Blank</vt:lpstr>
      <vt:lpstr>1_NG Blank</vt:lpstr>
      <vt:lpstr>NG Blank</vt:lpstr>
      <vt:lpstr>8_NG Blank</vt:lpstr>
      <vt:lpstr>AM_Template_Dec2013</vt:lpstr>
      <vt:lpstr>NG Photo</vt:lpstr>
      <vt:lpstr>1_AM_Template_Dec2013</vt:lpstr>
      <vt:lpstr>2_AM_Template_Dec2013</vt:lpstr>
      <vt:lpstr>3_AM_Template_Dec2013</vt:lpstr>
      <vt:lpstr>2012.04.10 My New Template</vt:lpstr>
      <vt:lpstr>2_NG Blank</vt:lpstr>
      <vt:lpstr>12_national_grid[1]</vt:lpstr>
      <vt:lpstr>national_grid[2]</vt:lpstr>
      <vt:lpstr>national_grid</vt:lpstr>
      <vt:lpstr>1_national_grid</vt:lpstr>
      <vt:lpstr>2_GroupStrategy</vt:lpstr>
      <vt:lpstr>6_GroupStrategy</vt:lpstr>
      <vt:lpstr>think-cell Slide</vt:lpstr>
      <vt:lpstr>Customer Data Management  BMS Compliance Framework</vt:lpstr>
      <vt:lpstr>BMS Compliance Approach</vt:lpstr>
      <vt:lpstr>Compliance Requirements Objectives</vt:lpstr>
      <vt:lpstr>Data Management Dimensions</vt:lpstr>
      <vt:lpstr>Data Management Dimensions – Integrated View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PS_Weekly_Leads_Status_Report_20170329</dc:title>
  <dc:creator>susan.sawchuk@nationalgrid.com</dc:creator>
  <cp:lastModifiedBy>Patel, Vishal</cp:lastModifiedBy>
  <cp:revision>3842</cp:revision>
  <cp:lastPrinted>2016-09-14T13:15:00Z</cp:lastPrinted>
  <dcterms:created xsi:type="dcterms:W3CDTF">2013-02-25T18:18:48Z</dcterms:created>
  <dcterms:modified xsi:type="dcterms:W3CDTF">2020-06-22T15:2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AD993A66FA0547A4EF2EC601C0C7DC</vt:lpwstr>
  </property>
  <property fmtid="{D5CDD505-2E9C-101B-9397-08002B2CF9AE}" pid="3" name="_NewReviewCycle">
    <vt:lpwstr/>
  </property>
</Properties>
</file>